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96" r:id="rId5"/>
  </p:sldMasterIdLst>
  <p:notesMasterIdLst>
    <p:notesMasterId r:id="rId60"/>
  </p:notesMasterIdLst>
  <p:sldIdLst>
    <p:sldId id="398" r:id="rId6"/>
    <p:sldId id="746" r:id="rId7"/>
    <p:sldId id="876" r:id="rId8"/>
    <p:sldId id="973" r:id="rId9"/>
    <p:sldId id="974" r:id="rId10"/>
    <p:sldId id="749" r:id="rId11"/>
    <p:sldId id="752" r:id="rId12"/>
    <p:sldId id="940" r:id="rId13"/>
    <p:sldId id="968" r:id="rId14"/>
    <p:sldId id="972" r:id="rId15"/>
    <p:sldId id="975" r:id="rId16"/>
    <p:sldId id="971" r:id="rId17"/>
    <p:sldId id="969" r:id="rId18"/>
    <p:sldId id="970" r:id="rId19"/>
    <p:sldId id="941" r:id="rId20"/>
    <p:sldId id="835" r:id="rId21"/>
    <p:sldId id="881" r:id="rId22"/>
    <p:sldId id="882" r:id="rId23"/>
    <p:sldId id="766" r:id="rId24"/>
    <p:sldId id="775" r:id="rId25"/>
    <p:sldId id="908" r:id="rId26"/>
    <p:sldId id="887" r:id="rId27"/>
    <p:sldId id="896" r:id="rId28"/>
    <p:sldId id="885" r:id="rId29"/>
    <p:sldId id="886" r:id="rId30"/>
    <p:sldId id="849" r:id="rId31"/>
    <p:sldId id="950" r:id="rId32"/>
    <p:sldId id="915" r:id="rId33"/>
    <p:sldId id="933" r:id="rId34"/>
    <p:sldId id="934" r:id="rId35"/>
    <p:sldId id="935" r:id="rId36"/>
    <p:sldId id="936" r:id="rId37"/>
    <p:sldId id="939" r:id="rId38"/>
    <p:sldId id="800" r:id="rId39"/>
    <p:sldId id="803" r:id="rId40"/>
    <p:sldId id="805" r:id="rId41"/>
    <p:sldId id="808" r:id="rId42"/>
    <p:sldId id="966" r:id="rId43"/>
    <p:sldId id="958" r:id="rId44"/>
    <p:sldId id="959" r:id="rId45"/>
    <p:sldId id="960" r:id="rId46"/>
    <p:sldId id="961" r:id="rId47"/>
    <p:sldId id="962" r:id="rId48"/>
    <p:sldId id="964" r:id="rId49"/>
    <p:sldId id="965" r:id="rId50"/>
    <p:sldId id="744" r:id="rId51"/>
    <p:sldId id="745" r:id="rId52"/>
    <p:sldId id="909" r:id="rId53"/>
    <p:sldId id="952" r:id="rId54"/>
    <p:sldId id="953" r:id="rId55"/>
    <p:sldId id="954" r:id="rId56"/>
    <p:sldId id="955" r:id="rId57"/>
    <p:sldId id="956" r:id="rId58"/>
    <p:sldId id="967" r:id="rId5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DE42"/>
    <a:srgbClr val="ACD947"/>
    <a:srgbClr val="BCDD43"/>
    <a:srgbClr val="B7DB45"/>
    <a:srgbClr val="99FF33"/>
    <a:srgbClr val="6699FF"/>
    <a:srgbClr val="C2D8DC"/>
    <a:srgbClr val="CCECFF"/>
    <a:srgbClr val="0066FF"/>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6" autoAdjust="0"/>
    <p:restoredTop sz="92540" autoAdjust="0"/>
  </p:normalViewPr>
  <p:slideViewPr>
    <p:cSldViewPr snapToGrid="0" showGuides="1">
      <p:cViewPr>
        <p:scale>
          <a:sx n="50" d="100"/>
          <a:sy n="50" d="100"/>
        </p:scale>
        <p:origin x="-1938" y="-480"/>
      </p:cViewPr>
      <p:guideLst>
        <p:guide orient="horz" pos="4104"/>
        <p:guide orient="horz" pos="3864"/>
        <p:guide orient="horz" pos="201"/>
        <p:guide pos="5485"/>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48" d="100"/>
          <a:sy n="48" d="100"/>
        </p:scale>
        <p:origin x="-2664"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illion)</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numRef>
              <c:f>Sheet1!$A$2:$A$3</c:f>
              <c:numCache>
                <c:formatCode>General</c:formatCode>
                <c:ptCount val="2"/>
                <c:pt idx="0">
                  <c:v>2014</c:v>
                </c:pt>
                <c:pt idx="1">
                  <c:v>2019</c:v>
                </c:pt>
              </c:numCache>
            </c:numRef>
          </c:cat>
          <c:val>
            <c:numRef>
              <c:f>Sheet1!$B$2:$B$3</c:f>
              <c:numCache>
                <c:formatCode>General</c:formatCode>
                <c:ptCount val="2"/>
                <c:pt idx="0">
                  <c:v>0.95</c:v>
                </c:pt>
                <c:pt idx="1">
                  <c:v>11.6</c:v>
                </c:pt>
              </c:numCache>
            </c:numRef>
          </c:val>
        </c:ser>
        <c:dLbls>
          <c:dLblPos val="inEnd"/>
          <c:showLegendKey val="0"/>
          <c:showVal val="1"/>
          <c:showCatName val="0"/>
          <c:showSerName val="0"/>
          <c:showPercent val="0"/>
          <c:showBubbleSize val="0"/>
        </c:dLbls>
        <c:gapWidth val="100"/>
        <c:overlap val="-24"/>
        <c:axId val="45042688"/>
        <c:axId val="45078400"/>
      </c:barChart>
      <c:catAx>
        <c:axId val="4504268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5078400"/>
        <c:crosses val="autoZero"/>
        <c:auto val="1"/>
        <c:lblAlgn val="ctr"/>
        <c:lblOffset val="100"/>
        <c:noMultiLvlLbl val="0"/>
      </c:catAx>
      <c:valAx>
        <c:axId val="45078400"/>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50426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diagrams/_rels/data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4" Type="http://schemas.openxmlformats.org/officeDocument/2006/relationships/image" Target="../media/image4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4" Type="http://schemas.openxmlformats.org/officeDocument/2006/relationships/image" Target="../media/image48.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3DBB9F-07F0-4049-9D1E-863621DC38FB}" type="doc">
      <dgm:prSet loTypeId="urn:microsoft.com/office/officeart/2008/layout/LinedList" loCatId="list" qsTypeId="urn:microsoft.com/office/officeart/2005/8/quickstyle/simple1" qsCatId="simple" csTypeId="urn:microsoft.com/office/officeart/2005/8/colors/colorful1" csCatId="colorful" phldr="1"/>
      <dgm:spPr/>
      <dgm:t>
        <a:bodyPr/>
        <a:lstStyle/>
        <a:p>
          <a:endParaRPr lang="en-US"/>
        </a:p>
      </dgm:t>
    </dgm:pt>
    <dgm:pt modelId="{6278A810-9B90-4414-98EE-0AC3C67BDA60}">
      <dgm:prSet custT="1"/>
      <dgm:spPr/>
      <dgm:t>
        <a:bodyPr anchor="ctr"/>
        <a:lstStyle/>
        <a:p>
          <a:pPr rtl="0"/>
          <a:r>
            <a:rPr lang="en-US" sz="2000" b="0" dirty="0" smtClean="0">
              <a:solidFill>
                <a:schemeClr val="tx1"/>
              </a:solidFill>
              <a:latin typeface="+mj-lt"/>
            </a:rPr>
            <a:t>Introduction to Cloud Computing</a:t>
          </a:r>
          <a:endParaRPr lang="en-US" sz="2000" b="0" dirty="0">
            <a:solidFill>
              <a:schemeClr val="tx1"/>
            </a:solidFill>
            <a:latin typeface="+mj-lt"/>
          </a:endParaRPr>
        </a:p>
      </dgm:t>
    </dgm:pt>
    <dgm:pt modelId="{E26CF52C-E84C-4F4C-AF61-DF13D6E58F2A}" type="parTrans" cxnId="{8CE513DA-98B1-4880-ABEB-02F8DF9B9710}">
      <dgm:prSet/>
      <dgm:spPr/>
      <dgm:t>
        <a:bodyPr/>
        <a:lstStyle/>
        <a:p>
          <a:endParaRPr lang="en-US" sz="2000">
            <a:latin typeface="+mj-lt"/>
          </a:endParaRPr>
        </a:p>
      </dgm:t>
    </dgm:pt>
    <dgm:pt modelId="{74ABA99B-BA43-44AA-B67D-B40840E9ECD5}" type="sibTrans" cxnId="{8CE513DA-98B1-4880-ABEB-02F8DF9B9710}">
      <dgm:prSet/>
      <dgm:spPr/>
      <dgm:t>
        <a:bodyPr/>
        <a:lstStyle/>
        <a:p>
          <a:endParaRPr lang="en-US" sz="2000">
            <a:latin typeface="+mj-lt"/>
          </a:endParaRPr>
        </a:p>
      </dgm:t>
    </dgm:pt>
    <dgm:pt modelId="{E674F336-B6EE-4705-AC48-DC5A0D0447B1}">
      <dgm:prSet custT="1"/>
      <dgm:spPr/>
      <dgm:t>
        <a:bodyPr anchor="ctr"/>
        <a:lstStyle/>
        <a:p>
          <a:pPr rtl="0"/>
          <a:r>
            <a:rPr lang="en-US" sz="2000" b="0" dirty="0" smtClean="0">
              <a:solidFill>
                <a:schemeClr val="tx1"/>
              </a:solidFill>
              <a:latin typeface="+mj-lt"/>
            </a:rPr>
            <a:t>Virtualization and Hypervisors</a:t>
          </a:r>
          <a:endParaRPr lang="en-US" sz="2000" b="0" dirty="0">
            <a:solidFill>
              <a:schemeClr val="tx1"/>
            </a:solidFill>
            <a:latin typeface="+mj-lt"/>
          </a:endParaRPr>
        </a:p>
      </dgm:t>
    </dgm:pt>
    <dgm:pt modelId="{3D1A21FB-8ADC-41A0-9472-A811EFF67647}" type="parTrans" cxnId="{932F8AE5-04C7-4061-ABA6-94311E6F4417}">
      <dgm:prSet/>
      <dgm:spPr/>
      <dgm:t>
        <a:bodyPr/>
        <a:lstStyle/>
        <a:p>
          <a:endParaRPr lang="en-US" sz="2000">
            <a:latin typeface="+mj-lt"/>
          </a:endParaRPr>
        </a:p>
      </dgm:t>
    </dgm:pt>
    <dgm:pt modelId="{8D890386-A355-4256-971D-AFD04E612EAF}" type="sibTrans" cxnId="{932F8AE5-04C7-4061-ABA6-94311E6F4417}">
      <dgm:prSet/>
      <dgm:spPr/>
      <dgm:t>
        <a:bodyPr/>
        <a:lstStyle/>
        <a:p>
          <a:endParaRPr lang="en-US" sz="2000">
            <a:latin typeface="+mj-lt"/>
          </a:endParaRPr>
        </a:p>
      </dgm:t>
    </dgm:pt>
    <dgm:pt modelId="{10FC1408-DDFE-4AF4-A528-424C45FA1961}">
      <dgm:prSet custT="1"/>
      <dgm:spPr/>
      <dgm:t>
        <a:bodyPr anchor="ctr"/>
        <a:lstStyle/>
        <a:p>
          <a:pPr rtl="0"/>
          <a:r>
            <a:rPr lang="en-US" sz="2000" b="0" dirty="0" smtClean="0">
              <a:solidFill>
                <a:schemeClr val="tx1"/>
              </a:solidFill>
              <a:latin typeface="+mj-lt"/>
            </a:rPr>
            <a:t>Cloud Service Models and Types</a:t>
          </a:r>
          <a:endParaRPr lang="en-US" sz="2000" b="0" dirty="0">
            <a:solidFill>
              <a:schemeClr val="tx1"/>
            </a:solidFill>
            <a:latin typeface="+mj-lt"/>
          </a:endParaRPr>
        </a:p>
      </dgm:t>
    </dgm:pt>
    <dgm:pt modelId="{1DE57EAF-A78C-480C-AC72-BDEED7F169EF}" type="parTrans" cxnId="{8C1A62D7-29D1-42CA-8279-4BC658A75E78}">
      <dgm:prSet/>
      <dgm:spPr/>
      <dgm:t>
        <a:bodyPr/>
        <a:lstStyle/>
        <a:p>
          <a:endParaRPr lang="en-US" sz="2000">
            <a:latin typeface="+mj-lt"/>
          </a:endParaRPr>
        </a:p>
      </dgm:t>
    </dgm:pt>
    <dgm:pt modelId="{9D4ABEF1-FFEA-4475-B966-18BA92CBF424}" type="sibTrans" cxnId="{8C1A62D7-29D1-42CA-8279-4BC658A75E78}">
      <dgm:prSet/>
      <dgm:spPr/>
      <dgm:t>
        <a:bodyPr/>
        <a:lstStyle/>
        <a:p>
          <a:endParaRPr lang="en-US" sz="2000">
            <a:latin typeface="+mj-lt"/>
          </a:endParaRPr>
        </a:p>
      </dgm:t>
    </dgm:pt>
    <dgm:pt modelId="{DBF8FDD6-3CBB-46A9-AFEB-2072919529FA}">
      <dgm:prSet custT="1"/>
      <dgm:spPr/>
      <dgm:t>
        <a:bodyPr anchor="ctr"/>
        <a:lstStyle/>
        <a:p>
          <a:pPr rtl="0"/>
          <a:r>
            <a:rPr lang="en-US" sz="2000" b="0" dirty="0" smtClean="0">
              <a:solidFill>
                <a:schemeClr val="tx1"/>
              </a:solidFill>
              <a:latin typeface="+mj-lt"/>
            </a:rPr>
            <a:t>Cloud Market - Analysis</a:t>
          </a:r>
          <a:endParaRPr lang="en-US" sz="2000" b="0" dirty="0">
            <a:solidFill>
              <a:schemeClr val="tx1"/>
            </a:solidFill>
            <a:latin typeface="+mj-lt"/>
          </a:endParaRPr>
        </a:p>
      </dgm:t>
    </dgm:pt>
    <dgm:pt modelId="{96B3A2B4-FD64-4BB7-AA45-37263CF7BBB5}" type="parTrans" cxnId="{504C1BED-1A1B-43AB-965F-E7365F674BEC}">
      <dgm:prSet/>
      <dgm:spPr/>
      <dgm:t>
        <a:bodyPr/>
        <a:lstStyle/>
        <a:p>
          <a:endParaRPr lang="en-US" sz="2000">
            <a:latin typeface="+mj-lt"/>
          </a:endParaRPr>
        </a:p>
      </dgm:t>
    </dgm:pt>
    <dgm:pt modelId="{B92C59F1-A24E-40DE-BC9B-0A825C29A9FF}" type="sibTrans" cxnId="{504C1BED-1A1B-43AB-965F-E7365F674BEC}">
      <dgm:prSet/>
      <dgm:spPr/>
      <dgm:t>
        <a:bodyPr/>
        <a:lstStyle/>
        <a:p>
          <a:endParaRPr lang="en-US" sz="2000">
            <a:latin typeface="+mj-lt"/>
          </a:endParaRPr>
        </a:p>
      </dgm:t>
    </dgm:pt>
    <dgm:pt modelId="{8868820A-CA9F-4480-B53F-9A76C28E2367}">
      <dgm:prSet custT="1"/>
      <dgm:spPr/>
      <dgm:t>
        <a:bodyPr anchor="ctr"/>
        <a:lstStyle/>
        <a:p>
          <a:pPr rtl="0"/>
          <a:r>
            <a:rPr lang="en-US" sz="2000" b="0" dirty="0" smtClean="0">
              <a:solidFill>
                <a:schemeClr val="tx1"/>
              </a:solidFill>
              <a:latin typeface="+mj-lt"/>
            </a:rPr>
            <a:t>Q&amp;A</a:t>
          </a:r>
          <a:endParaRPr lang="en-US" sz="2000" b="0" dirty="0">
            <a:solidFill>
              <a:schemeClr val="tx1"/>
            </a:solidFill>
            <a:latin typeface="+mj-lt"/>
          </a:endParaRPr>
        </a:p>
      </dgm:t>
    </dgm:pt>
    <dgm:pt modelId="{9253F39F-A758-42C8-A79C-A50B0AD4CD4E}" type="sibTrans" cxnId="{ED4C4381-52B7-4CF2-BF50-BBE892B78700}">
      <dgm:prSet/>
      <dgm:spPr/>
      <dgm:t>
        <a:bodyPr/>
        <a:lstStyle/>
        <a:p>
          <a:endParaRPr lang="en-US" sz="2000">
            <a:latin typeface="+mj-lt"/>
          </a:endParaRPr>
        </a:p>
      </dgm:t>
    </dgm:pt>
    <dgm:pt modelId="{AFC83C86-A1B8-48FE-9FE3-7B7E975F0730}" type="parTrans" cxnId="{ED4C4381-52B7-4CF2-BF50-BBE892B78700}">
      <dgm:prSet/>
      <dgm:spPr/>
      <dgm:t>
        <a:bodyPr/>
        <a:lstStyle/>
        <a:p>
          <a:endParaRPr lang="en-US" sz="2000">
            <a:latin typeface="+mj-lt"/>
          </a:endParaRPr>
        </a:p>
      </dgm:t>
    </dgm:pt>
    <dgm:pt modelId="{05B36CF6-7BC6-403B-B5D9-F4AFB3DC6871}">
      <dgm:prSet custT="1"/>
      <dgm:spPr/>
      <dgm:t>
        <a:bodyPr anchor="ctr"/>
        <a:lstStyle/>
        <a:p>
          <a:pPr rtl="0"/>
          <a:r>
            <a:rPr lang="en-US" sz="2000" b="0" dirty="0" smtClean="0">
              <a:solidFill>
                <a:schemeClr val="tx1"/>
              </a:solidFill>
              <a:latin typeface="+mj-lt"/>
            </a:rPr>
            <a:t>Cloud Pricing</a:t>
          </a:r>
          <a:endParaRPr lang="en-US" sz="2000" b="0" dirty="0">
            <a:solidFill>
              <a:schemeClr val="tx1"/>
            </a:solidFill>
            <a:latin typeface="+mj-lt"/>
          </a:endParaRPr>
        </a:p>
      </dgm:t>
    </dgm:pt>
    <dgm:pt modelId="{F7586217-8781-4F90-8F2F-618F8FCFC430}" type="parTrans" cxnId="{20F531D4-A548-4AE8-83F1-75FCE60D974A}">
      <dgm:prSet/>
      <dgm:spPr/>
      <dgm:t>
        <a:bodyPr/>
        <a:lstStyle/>
        <a:p>
          <a:endParaRPr lang="en-US"/>
        </a:p>
      </dgm:t>
    </dgm:pt>
    <dgm:pt modelId="{CB3037C2-525C-41FC-84D0-144A039AFA70}" type="sibTrans" cxnId="{20F531D4-A548-4AE8-83F1-75FCE60D974A}">
      <dgm:prSet/>
      <dgm:spPr/>
      <dgm:t>
        <a:bodyPr/>
        <a:lstStyle/>
        <a:p>
          <a:endParaRPr lang="en-US"/>
        </a:p>
      </dgm:t>
    </dgm:pt>
    <dgm:pt modelId="{81606F64-C19B-495C-8807-16948FCD1216}">
      <dgm:prSet custT="1"/>
      <dgm:spPr/>
      <dgm:t>
        <a:bodyPr anchor="ctr"/>
        <a:lstStyle/>
        <a:p>
          <a:pPr rtl="0"/>
          <a:r>
            <a:rPr lang="en-US" sz="2000" b="0" dirty="0" smtClean="0">
              <a:solidFill>
                <a:schemeClr val="tx1"/>
              </a:solidFill>
              <a:latin typeface="+mj-lt"/>
            </a:rPr>
            <a:t>SDN / NFV</a:t>
          </a:r>
        </a:p>
      </dgm:t>
    </dgm:pt>
    <dgm:pt modelId="{E56DD8F9-D6B5-46B5-857B-16997D4906DB}" type="parTrans" cxnId="{A175C3FC-2A02-48C4-B804-A57C822DABA9}">
      <dgm:prSet/>
      <dgm:spPr/>
      <dgm:t>
        <a:bodyPr/>
        <a:lstStyle/>
        <a:p>
          <a:endParaRPr lang="en-US"/>
        </a:p>
      </dgm:t>
    </dgm:pt>
    <dgm:pt modelId="{FA190A54-A068-4B2C-AD4C-291BD7EDE892}" type="sibTrans" cxnId="{A175C3FC-2A02-48C4-B804-A57C822DABA9}">
      <dgm:prSet/>
      <dgm:spPr/>
      <dgm:t>
        <a:bodyPr/>
        <a:lstStyle/>
        <a:p>
          <a:endParaRPr lang="en-US"/>
        </a:p>
      </dgm:t>
    </dgm:pt>
    <dgm:pt modelId="{386FC7D8-CE1A-40BD-8288-932B4225C8C1}">
      <dgm:prSet custT="1"/>
      <dgm:spPr/>
      <dgm:t>
        <a:bodyPr anchor="ctr"/>
        <a:lstStyle/>
        <a:p>
          <a:pPr rtl="0"/>
          <a:r>
            <a:rPr lang="en-US" sz="2000" b="0" dirty="0" smtClean="0">
              <a:solidFill>
                <a:schemeClr val="tx1"/>
              </a:solidFill>
              <a:latin typeface="+mj-lt"/>
            </a:rPr>
            <a:t>Capacity Planning and Cloud Security</a:t>
          </a:r>
        </a:p>
      </dgm:t>
    </dgm:pt>
    <dgm:pt modelId="{CE3B0966-E075-47D8-B0B1-F0624EFB24CE}" type="parTrans" cxnId="{617ACEC0-745E-41F3-A4D5-BC2B0143AEE0}">
      <dgm:prSet/>
      <dgm:spPr/>
      <dgm:t>
        <a:bodyPr/>
        <a:lstStyle/>
        <a:p>
          <a:endParaRPr lang="en-US"/>
        </a:p>
      </dgm:t>
    </dgm:pt>
    <dgm:pt modelId="{EB62FDA3-2019-4F39-9B46-46FCE3A1FEDE}" type="sibTrans" cxnId="{617ACEC0-745E-41F3-A4D5-BC2B0143AEE0}">
      <dgm:prSet/>
      <dgm:spPr/>
      <dgm:t>
        <a:bodyPr/>
        <a:lstStyle/>
        <a:p>
          <a:endParaRPr lang="en-US"/>
        </a:p>
      </dgm:t>
    </dgm:pt>
    <dgm:pt modelId="{DC0C7F7F-2754-44BB-B3B4-D56923445C60}" type="pres">
      <dgm:prSet presAssocID="{E83DBB9F-07F0-4049-9D1E-863621DC38FB}" presName="vert0" presStyleCnt="0">
        <dgm:presLayoutVars>
          <dgm:dir/>
          <dgm:animOne val="branch"/>
          <dgm:animLvl val="lvl"/>
        </dgm:presLayoutVars>
      </dgm:prSet>
      <dgm:spPr/>
      <dgm:t>
        <a:bodyPr/>
        <a:lstStyle/>
        <a:p>
          <a:endParaRPr lang="en-US"/>
        </a:p>
      </dgm:t>
    </dgm:pt>
    <dgm:pt modelId="{935EB209-C2B3-46FF-8248-75F6297B2756}" type="pres">
      <dgm:prSet presAssocID="{6278A810-9B90-4414-98EE-0AC3C67BDA60}" presName="thickLine" presStyleLbl="alignNode1" presStyleIdx="0" presStyleCnt="8"/>
      <dgm:spPr/>
    </dgm:pt>
    <dgm:pt modelId="{B8B4AC3B-D5DC-49E0-9262-E3C2CDEA9198}" type="pres">
      <dgm:prSet presAssocID="{6278A810-9B90-4414-98EE-0AC3C67BDA60}" presName="horz1" presStyleCnt="0"/>
      <dgm:spPr/>
    </dgm:pt>
    <dgm:pt modelId="{3B1FDFB1-ABED-4A9F-BFF5-99EC6195B77D}" type="pres">
      <dgm:prSet presAssocID="{6278A810-9B90-4414-98EE-0AC3C67BDA60}" presName="tx1" presStyleLbl="revTx" presStyleIdx="0" presStyleCnt="8"/>
      <dgm:spPr/>
      <dgm:t>
        <a:bodyPr/>
        <a:lstStyle/>
        <a:p>
          <a:endParaRPr lang="en-US"/>
        </a:p>
      </dgm:t>
    </dgm:pt>
    <dgm:pt modelId="{FF843197-457A-4FC0-9548-61418E5438DC}" type="pres">
      <dgm:prSet presAssocID="{6278A810-9B90-4414-98EE-0AC3C67BDA60}" presName="vert1" presStyleCnt="0"/>
      <dgm:spPr/>
    </dgm:pt>
    <dgm:pt modelId="{43771987-D084-4406-896F-B1F1B0BFB98C}" type="pres">
      <dgm:prSet presAssocID="{E674F336-B6EE-4705-AC48-DC5A0D0447B1}" presName="thickLine" presStyleLbl="alignNode1" presStyleIdx="1" presStyleCnt="8"/>
      <dgm:spPr/>
    </dgm:pt>
    <dgm:pt modelId="{6A960191-1159-4F4C-8181-595686B36DB4}" type="pres">
      <dgm:prSet presAssocID="{E674F336-B6EE-4705-AC48-DC5A0D0447B1}" presName="horz1" presStyleCnt="0"/>
      <dgm:spPr/>
    </dgm:pt>
    <dgm:pt modelId="{2F749F38-C642-49CE-8AB1-A9C7B439EAC3}" type="pres">
      <dgm:prSet presAssocID="{E674F336-B6EE-4705-AC48-DC5A0D0447B1}" presName="tx1" presStyleLbl="revTx" presStyleIdx="1" presStyleCnt="8"/>
      <dgm:spPr/>
      <dgm:t>
        <a:bodyPr/>
        <a:lstStyle/>
        <a:p>
          <a:endParaRPr lang="en-US"/>
        </a:p>
      </dgm:t>
    </dgm:pt>
    <dgm:pt modelId="{0CE0B5D8-B5E0-4FC6-8EF8-F3234B08AD8C}" type="pres">
      <dgm:prSet presAssocID="{E674F336-B6EE-4705-AC48-DC5A0D0447B1}" presName="vert1" presStyleCnt="0"/>
      <dgm:spPr/>
    </dgm:pt>
    <dgm:pt modelId="{4560C8EF-7410-4669-A259-63C32DDD04C1}" type="pres">
      <dgm:prSet presAssocID="{10FC1408-DDFE-4AF4-A528-424C45FA1961}" presName="thickLine" presStyleLbl="alignNode1" presStyleIdx="2" presStyleCnt="8"/>
      <dgm:spPr/>
    </dgm:pt>
    <dgm:pt modelId="{707E3708-803F-4B20-BA00-CEBE7568DD5C}" type="pres">
      <dgm:prSet presAssocID="{10FC1408-DDFE-4AF4-A528-424C45FA1961}" presName="horz1" presStyleCnt="0"/>
      <dgm:spPr/>
    </dgm:pt>
    <dgm:pt modelId="{564C7632-482A-409E-86F7-F376A72A760E}" type="pres">
      <dgm:prSet presAssocID="{10FC1408-DDFE-4AF4-A528-424C45FA1961}" presName="tx1" presStyleLbl="revTx" presStyleIdx="2" presStyleCnt="8"/>
      <dgm:spPr/>
      <dgm:t>
        <a:bodyPr/>
        <a:lstStyle/>
        <a:p>
          <a:endParaRPr lang="en-US"/>
        </a:p>
      </dgm:t>
    </dgm:pt>
    <dgm:pt modelId="{0E78F931-B41F-4C35-9208-5F411EC8B1DB}" type="pres">
      <dgm:prSet presAssocID="{10FC1408-DDFE-4AF4-A528-424C45FA1961}" presName="vert1" presStyleCnt="0"/>
      <dgm:spPr/>
    </dgm:pt>
    <dgm:pt modelId="{C055FF11-81B4-4F1D-A0FE-E2C3D2E9514A}" type="pres">
      <dgm:prSet presAssocID="{DBF8FDD6-3CBB-46A9-AFEB-2072919529FA}" presName="thickLine" presStyleLbl="alignNode1" presStyleIdx="3" presStyleCnt="8"/>
      <dgm:spPr/>
    </dgm:pt>
    <dgm:pt modelId="{6B67D28C-2FBB-42B0-911F-E10F649E21B6}" type="pres">
      <dgm:prSet presAssocID="{DBF8FDD6-3CBB-46A9-AFEB-2072919529FA}" presName="horz1" presStyleCnt="0"/>
      <dgm:spPr/>
    </dgm:pt>
    <dgm:pt modelId="{003EAAEB-7F48-4A1F-8F64-E39D5BF72357}" type="pres">
      <dgm:prSet presAssocID="{DBF8FDD6-3CBB-46A9-AFEB-2072919529FA}" presName="tx1" presStyleLbl="revTx" presStyleIdx="3" presStyleCnt="8"/>
      <dgm:spPr/>
      <dgm:t>
        <a:bodyPr/>
        <a:lstStyle/>
        <a:p>
          <a:endParaRPr lang="en-US"/>
        </a:p>
      </dgm:t>
    </dgm:pt>
    <dgm:pt modelId="{8FE89926-7A6E-441D-B2FD-DA08AC1DB9A2}" type="pres">
      <dgm:prSet presAssocID="{DBF8FDD6-3CBB-46A9-AFEB-2072919529FA}" presName="vert1" presStyleCnt="0"/>
      <dgm:spPr/>
    </dgm:pt>
    <dgm:pt modelId="{89F674C6-7237-4BC2-BE2A-8FDDA8B86656}" type="pres">
      <dgm:prSet presAssocID="{05B36CF6-7BC6-403B-B5D9-F4AFB3DC6871}" presName="thickLine" presStyleLbl="alignNode1" presStyleIdx="4" presStyleCnt="8"/>
      <dgm:spPr/>
    </dgm:pt>
    <dgm:pt modelId="{F010AFF0-9C1C-4867-95B2-98B46E10942E}" type="pres">
      <dgm:prSet presAssocID="{05B36CF6-7BC6-403B-B5D9-F4AFB3DC6871}" presName="horz1" presStyleCnt="0"/>
      <dgm:spPr/>
    </dgm:pt>
    <dgm:pt modelId="{0A202AC9-BAAE-4A52-96B8-398B62CF4FD3}" type="pres">
      <dgm:prSet presAssocID="{05B36CF6-7BC6-403B-B5D9-F4AFB3DC6871}" presName="tx1" presStyleLbl="revTx" presStyleIdx="4" presStyleCnt="8"/>
      <dgm:spPr/>
      <dgm:t>
        <a:bodyPr/>
        <a:lstStyle/>
        <a:p>
          <a:endParaRPr lang="en-US"/>
        </a:p>
      </dgm:t>
    </dgm:pt>
    <dgm:pt modelId="{6C6CEE8E-6FB2-4FD2-8D94-E8DA8C807B8F}" type="pres">
      <dgm:prSet presAssocID="{05B36CF6-7BC6-403B-B5D9-F4AFB3DC6871}" presName="vert1" presStyleCnt="0"/>
      <dgm:spPr/>
    </dgm:pt>
    <dgm:pt modelId="{3E446127-EDF1-443E-B2EE-92ABC6D585E5}" type="pres">
      <dgm:prSet presAssocID="{81606F64-C19B-495C-8807-16948FCD1216}" presName="thickLine" presStyleLbl="alignNode1" presStyleIdx="5" presStyleCnt="8"/>
      <dgm:spPr/>
    </dgm:pt>
    <dgm:pt modelId="{5940144F-D963-4DBA-9B7D-3596273FD6EE}" type="pres">
      <dgm:prSet presAssocID="{81606F64-C19B-495C-8807-16948FCD1216}" presName="horz1" presStyleCnt="0"/>
      <dgm:spPr/>
    </dgm:pt>
    <dgm:pt modelId="{38B38372-902A-474E-A6CB-77B0BF2D2D7C}" type="pres">
      <dgm:prSet presAssocID="{81606F64-C19B-495C-8807-16948FCD1216}" presName="tx1" presStyleLbl="revTx" presStyleIdx="5" presStyleCnt="8"/>
      <dgm:spPr/>
      <dgm:t>
        <a:bodyPr/>
        <a:lstStyle/>
        <a:p>
          <a:endParaRPr lang="en-US"/>
        </a:p>
      </dgm:t>
    </dgm:pt>
    <dgm:pt modelId="{31299D15-10A9-4485-849C-01AEA8EACC2A}" type="pres">
      <dgm:prSet presAssocID="{81606F64-C19B-495C-8807-16948FCD1216}" presName="vert1" presStyleCnt="0"/>
      <dgm:spPr/>
    </dgm:pt>
    <dgm:pt modelId="{1EFD6A84-5F2E-44EA-8247-42A8E5465A55}" type="pres">
      <dgm:prSet presAssocID="{386FC7D8-CE1A-40BD-8288-932B4225C8C1}" presName="thickLine" presStyleLbl="alignNode1" presStyleIdx="6" presStyleCnt="8"/>
      <dgm:spPr/>
    </dgm:pt>
    <dgm:pt modelId="{E2F0EF89-4D97-4E10-A8AD-F0695CF362DA}" type="pres">
      <dgm:prSet presAssocID="{386FC7D8-CE1A-40BD-8288-932B4225C8C1}" presName="horz1" presStyleCnt="0"/>
      <dgm:spPr/>
    </dgm:pt>
    <dgm:pt modelId="{8DC0A645-E0E7-49A5-B2B8-BB4671EC1695}" type="pres">
      <dgm:prSet presAssocID="{386FC7D8-CE1A-40BD-8288-932B4225C8C1}" presName="tx1" presStyleLbl="revTx" presStyleIdx="6" presStyleCnt="8"/>
      <dgm:spPr/>
      <dgm:t>
        <a:bodyPr/>
        <a:lstStyle/>
        <a:p>
          <a:endParaRPr lang="en-US"/>
        </a:p>
      </dgm:t>
    </dgm:pt>
    <dgm:pt modelId="{C2EB6E8B-B80A-4528-961A-2D7DBB69A4D9}" type="pres">
      <dgm:prSet presAssocID="{386FC7D8-CE1A-40BD-8288-932B4225C8C1}" presName="vert1" presStyleCnt="0"/>
      <dgm:spPr/>
    </dgm:pt>
    <dgm:pt modelId="{B7802A97-2370-4783-9388-9B498C7CC033}" type="pres">
      <dgm:prSet presAssocID="{8868820A-CA9F-4480-B53F-9A76C28E2367}" presName="thickLine" presStyleLbl="alignNode1" presStyleIdx="7" presStyleCnt="8"/>
      <dgm:spPr/>
    </dgm:pt>
    <dgm:pt modelId="{A09C67BC-F77A-4A45-9BFF-4B7F061FDD71}" type="pres">
      <dgm:prSet presAssocID="{8868820A-CA9F-4480-B53F-9A76C28E2367}" presName="horz1" presStyleCnt="0"/>
      <dgm:spPr/>
    </dgm:pt>
    <dgm:pt modelId="{5C316A29-4C00-4767-99C7-053BFABD7C8B}" type="pres">
      <dgm:prSet presAssocID="{8868820A-CA9F-4480-B53F-9A76C28E2367}" presName="tx1" presStyleLbl="revTx" presStyleIdx="7" presStyleCnt="8"/>
      <dgm:spPr/>
      <dgm:t>
        <a:bodyPr/>
        <a:lstStyle/>
        <a:p>
          <a:endParaRPr lang="en-US"/>
        </a:p>
      </dgm:t>
    </dgm:pt>
    <dgm:pt modelId="{2355128B-740E-4C70-92B4-184FAE1B467C}" type="pres">
      <dgm:prSet presAssocID="{8868820A-CA9F-4480-B53F-9A76C28E2367}" presName="vert1" presStyleCnt="0"/>
      <dgm:spPr/>
    </dgm:pt>
  </dgm:ptLst>
  <dgm:cxnLst>
    <dgm:cxn modelId="{217A2E4F-3D07-436B-9588-E249142042AD}" type="presOf" srcId="{6278A810-9B90-4414-98EE-0AC3C67BDA60}" destId="{3B1FDFB1-ABED-4A9F-BFF5-99EC6195B77D}" srcOrd="0" destOrd="0" presId="urn:microsoft.com/office/officeart/2008/layout/LinedList"/>
    <dgm:cxn modelId="{A175C3FC-2A02-48C4-B804-A57C822DABA9}" srcId="{E83DBB9F-07F0-4049-9D1E-863621DC38FB}" destId="{81606F64-C19B-495C-8807-16948FCD1216}" srcOrd="5" destOrd="0" parTransId="{E56DD8F9-D6B5-46B5-857B-16997D4906DB}" sibTransId="{FA190A54-A068-4B2C-AD4C-291BD7EDE892}"/>
    <dgm:cxn modelId="{20F531D4-A548-4AE8-83F1-75FCE60D974A}" srcId="{E83DBB9F-07F0-4049-9D1E-863621DC38FB}" destId="{05B36CF6-7BC6-403B-B5D9-F4AFB3DC6871}" srcOrd="4" destOrd="0" parTransId="{F7586217-8781-4F90-8F2F-618F8FCFC430}" sibTransId="{CB3037C2-525C-41FC-84D0-144A039AFA70}"/>
    <dgm:cxn modelId="{ED4C4381-52B7-4CF2-BF50-BBE892B78700}" srcId="{E83DBB9F-07F0-4049-9D1E-863621DC38FB}" destId="{8868820A-CA9F-4480-B53F-9A76C28E2367}" srcOrd="7" destOrd="0" parTransId="{AFC83C86-A1B8-48FE-9FE3-7B7E975F0730}" sibTransId="{9253F39F-A758-42C8-A79C-A50B0AD4CD4E}"/>
    <dgm:cxn modelId="{504C1BED-1A1B-43AB-965F-E7365F674BEC}" srcId="{E83DBB9F-07F0-4049-9D1E-863621DC38FB}" destId="{DBF8FDD6-3CBB-46A9-AFEB-2072919529FA}" srcOrd="3" destOrd="0" parTransId="{96B3A2B4-FD64-4BB7-AA45-37263CF7BBB5}" sibTransId="{B92C59F1-A24E-40DE-BC9B-0A825C29A9FF}"/>
    <dgm:cxn modelId="{34101E00-A41E-46BA-9E2F-1A578245BA7B}" type="presOf" srcId="{E83DBB9F-07F0-4049-9D1E-863621DC38FB}" destId="{DC0C7F7F-2754-44BB-B3B4-D56923445C60}" srcOrd="0" destOrd="0" presId="urn:microsoft.com/office/officeart/2008/layout/LinedList"/>
    <dgm:cxn modelId="{CE2E323E-2940-40E4-9449-4918124F475E}" type="presOf" srcId="{8868820A-CA9F-4480-B53F-9A76C28E2367}" destId="{5C316A29-4C00-4767-99C7-053BFABD7C8B}" srcOrd="0" destOrd="0" presId="urn:microsoft.com/office/officeart/2008/layout/LinedList"/>
    <dgm:cxn modelId="{233DDC47-EB9D-4942-A770-8C70E9094287}" type="presOf" srcId="{E674F336-B6EE-4705-AC48-DC5A0D0447B1}" destId="{2F749F38-C642-49CE-8AB1-A9C7B439EAC3}" srcOrd="0" destOrd="0" presId="urn:microsoft.com/office/officeart/2008/layout/LinedList"/>
    <dgm:cxn modelId="{D53B155B-7017-47E9-9460-4020FD879B25}" type="presOf" srcId="{10FC1408-DDFE-4AF4-A528-424C45FA1961}" destId="{564C7632-482A-409E-86F7-F376A72A760E}" srcOrd="0" destOrd="0" presId="urn:microsoft.com/office/officeart/2008/layout/LinedList"/>
    <dgm:cxn modelId="{01D25A5E-2E20-4225-AC2E-790972BA9B69}" type="presOf" srcId="{386FC7D8-CE1A-40BD-8288-932B4225C8C1}" destId="{8DC0A645-E0E7-49A5-B2B8-BB4671EC1695}" srcOrd="0" destOrd="0" presId="urn:microsoft.com/office/officeart/2008/layout/LinedList"/>
    <dgm:cxn modelId="{D6D542C4-6A2F-4DC0-AE1E-C07E3B41EA54}" type="presOf" srcId="{81606F64-C19B-495C-8807-16948FCD1216}" destId="{38B38372-902A-474E-A6CB-77B0BF2D2D7C}" srcOrd="0" destOrd="0" presId="urn:microsoft.com/office/officeart/2008/layout/LinedList"/>
    <dgm:cxn modelId="{8CE513DA-98B1-4880-ABEB-02F8DF9B9710}" srcId="{E83DBB9F-07F0-4049-9D1E-863621DC38FB}" destId="{6278A810-9B90-4414-98EE-0AC3C67BDA60}" srcOrd="0" destOrd="0" parTransId="{E26CF52C-E84C-4F4C-AF61-DF13D6E58F2A}" sibTransId="{74ABA99B-BA43-44AA-B67D-B40840E9ECD5}"/>
    <dgm:cxn modelId="{B5D98B67-07FF-4784-9290-06E8FCCB5B51}" type="presOf" srcId="{DBF8FDD6-3CBB-46A9-AFEB-2072919529FA}" destId="{003EAAEB-7F48-4A1F-8F64-E39D5BF72357}" srcOrd="0" destOrd="0" presId="urn:microsoft.com/office/officeart/2008/layout/LinedList"/>
    <dgm:cxn modelId="{8C1A62D7-29D1-42CA-8279-4BC658A75E78}" srcId="{E83DBB9F-07F0-4049-9D1E-863621DC38FB}" destId="{10FC1408-DDFE-4AF4-A528-424C45FA1961}" srcOrd="2" destOrd="0" parTransId="{1DE57EAF-A78C-480C-AC72-BDEED7F169EF}" sibTransId="{9D4ABEF1-FFEA-4475-B966-18BA92CBF424}"/>
    <dgm:cxn modelId="{617ACEC0-745E-41F3-A4D5-BC2B0143AEE0}" srcId="{E83DBB9F-07F0-4049-9D1E-863621DC38FB}" destId="{386FC7D8-CE1A-40BD-8288-932B4225C8C1}" srcOrd="6" destOrd="0" parTransId="{CE3B0966-E075-47D8-B0B1-F0624EFB24CE}" sibTransId="{EB62FDA3-2019-4F39-9B46-46FCE3A1FEDE}"/>
    <dgm:cxn modelId="{932F8AE5-04C7-4061-ABA6-94311E6F4417}" srcId="{E83DBB9F-07F0-4049-9D1E-863621DC38FB}" destId="{E674F336-B6EE-4705-AC48-DC5A0D0447B1}" srcOrd="1" destOrd="0" parTransId="{3D1A21FB-8ADC-41A0-9472-A811EFF67647}" sibTransId="{8D890386-A355-4256-971D-AFD04E612EAF}"/>
    <dgm:cxn modelId="{7FCFB69E-C93E-4E5F-81E7-EC9FBC26C9F4}" type="presOf" srcId="{05B36CF6-7BC6-403B-B5D9-F4AFB3DC6871}" destId="{0A202AC9-BAAE-4A52-96B8-398B62CF4FD3}" srcOrd="0" destOrd="0" presId="urn:microsoft.com/office/officeart/2008/layout/LinedList"/>
    <dgm:cxn modelId="{E6A5ADA7-A6E1-41BF-A394-308422585DD8}" type="presParOf" srcId="{DC0C7F7F-2754-44BB-B3B4-D56923445C60}" destId="{935EB209-C2B3-46FF-8248-75F6297B2756}" srcOrd="0" destOrd="0" presId="urn:microsoft.com/office/officeart/2008/layout/LinedList"/>
    <dgm:cxn modelId="{7B85BC57-6BFC-4668-8895-F4232A33997B}" type="presParOf" srcId="{DC0C7F7F-2754-44BB-B3B4-D56923445C60}" destId="{B8B4AC3B-D5DC-49E0-9262-E3C2CDEA9198}" srcOrd="1" destOrd="0" presId="urn:microsoft.com/office/officeart/2008/layout/LinedList"/>
    <dgm:cxn modelId="{F59957E6-B8CB-40DD-9309-E04ABBA122DD}" type="presParOf" srcId="{B8B4AC3B-D5DC-49E0-9262-E3C2CDEA9198}" destId="{3B1FDFB1-ABED-4A9F-BFF5-99EC6195B77D}" srcOrd="0" destOrd="0" presId="urn:microsoft.com/office/officeart/2008/layout/LinedList"/>
    <dgm:cxn modelId="{137E8D77-BD6A-4AF6-A7B7-B05881051447}" type="presParOf" srcId="{B8B4AC3B-D5DC-49E0-9262-E3C2CDEA9198}" destId="{FF843197-457A-4FC0-9548-61418E5438DC}" srcOrd="1" destOrd="0" presId="urn:microsoft.com/office/officeart/2008/layout/LinedList"/>
    <dgm:cxn modelId="{C0A9C781-DB65-4007-9B92-7E04B35D1059}" type="presParOf" srcId="{DC0C7F7F-2754-44BB-B3B4-D56923445C60}" destId="{43771987-D084-4406-896F-B1F1B0BFB98C}" srcOrd="2" destOrd="0" presId="urn:microsoft.com/office/officeart/2008/layout/LinedList"/>
    <dgm:cxn modelId="{50F15EE7-0BC1-44EB-85A7-2F05768BB296}" type="presParOf" srcId="{DC0C7F7F-2754-44BB-B3B4-D56923445C60}" destId="{6A960191-1159-4F4C-8181-595686B36DB4}" srcOrd="3" destOrd="0" presId="urn:microsoft.com/office/officeart/2008/layout/LinedList"/>
    <dgm:cxn modelId="{683767EB-0B79-4E50-805A-CE05685EA042}" type="presParOf" srcId="{6A960191-1159-4F4C-8181-595686B36DB4}" destId="{2F749F38-C642-49CE-8AB1-A9C7B439EAC3}" srcOrd="0" destOrd="0" presId="urn:microsoft.com/office/officeart/2008/layout/LinedList"/>
    <dgm:cxn modelId="{B45875D5-9FB8-4A79-A744-C205FE9FC631}" type="presParOf" srcId="{6A960191-1159-4F4C-8181-595686B36DB4}" destId="{0CE0B5D8-B5E0-4FC6-8EF8-F3234B08AD8C}" srcOrd="1" destOrd="0" presId="urn:microsoft.com/office/officeart/2008/layout/LinedList"/>
    <dgm:cxn modelId="{B634EFEF-A543-45C4-B552-111997CE4DEC}" type="presParOf" srcId="{DC0C7F7F-2754-44BB-B3B4-D56923445C60}" destId="{4560C8EF-7410-4669-A259-63C32DDD04C1}" srcOrd="4" destOrd="0" presId="urn:microsoft.com/office/officeart/2008/layout/LinedList"/>
    <dgm:cxn modelId="{A76578C8-19A4-4923-9908-1EA9E7943C36}" type="presParOf" srcId="{DC0C7F7F-2754-44BB-B3B4-D56923445C60}" destId="{707E3708-803F-4B20-BA00-CEBE7568DD5C}" srcOrd="5" destOrd="0" presId="urn:microsoft.com/office/officeart/2008/layout/LinedList"/>
    <dgm:cxn modelId="{9F380A4F-C58A-4F35-B6A7-74713F4BF1EF}" type="presParOf" srcId="{707E3708-803F-4B20-BA00-CEBE7568DD5C}" destId="{564C7632-482A-409E-86F7-F376A72A760E}" srcOrd="0" destOrd="0" presId="urn:microsoft.com/office/officeart/2008/layout/LinedList"/>
    <dgm:cxn modelId="{4AFA11D6-CE0A-41B4-B11F-ADE5682AC4A5}" type="presParOf" srcId="{707E3708-803F-4B20-BA00-CEBE7568DD5C}" destId="{0E78F931-B41F-4C35-9208-5F411EC8B1DB}" srcOrd="1" destOrd="0" presId="urn:microsoft.com/office/officeart/2008/layout/LinedList"/>
    <dgm:cxn modelId="{9198C2B7-1D38-4039-AB1D-497B127C239B}" type="presParOf" srcId="{DC0C7F7F-2754-44BB-B3B4-D56923445C60}" destId="{C055FF11-81B4-4F1D-A0FE-E2C3D2E9514A}" srcOrd="6" destOrd="0" presId="urn:microsoft.com/office/officeart/2008/layout/LinedList"/>
    <dgm:cxn modelId="{F1D9899D-CC0A-461E-B47C-6EBE4BDD433B}" type="presParOf" srcId="{DC0C7F7F-2754-44BB-B3B4-D56923445C60}" destId="{6B67D28C-2FBB-42B0-911F-E10F649E21B6}" srcOrd="7" destOrd="0" presId="urn:microsoft.com/office/officeart/2008/layout/LinedList"/>
    <dgm:cxn modelId="{F5C39078-4273-4013-900B-66FF33AF8298}" type="presParOf" srcId="{6B67D28C-2FBB-42B0-911F-E10F649E21B6}" destId="{003EAAEB-7F48-4A1F-8F64-E39D5BF72357}" srcOrd="0" destOrd="0" presId="urn:microsoft.com/office/officeart/2008/layout/LinedList"/>
    <dgm:cxn modelId="{183A3A4D-804D-4A7F-95FF-B1EC094C49AD}" type="presParOf" srcId="{6B67D28C-2FBB-42B0-911F-E10F649E21B6}" destId="{8FE89926-7A6E-441D-B2FD-DA08AC1DB9A2}" srcOrd="1" destOrd="0" presId="urn:microsoft.com/office/officeart/2008/layout/LinedList"/>
    <dgm:cxn modelId="{950B1929-8FEB-4153-91D6-A33115B2A16C}" type="presParOf" srcId="{DC0C7F7F-2754-44BB-B3B4-D56923445C60}" destId="{89F674C6-7237-4BC2-BE2A-8FDDA8B86656}" srcOrd="8" destOrd="0" presId="urn:microsoft.com/office/officeart/2008/layout/LinedList"/>
    <dgm:cxn modelId="{1588A45B-4CE7-42DF-B844-9DC23D4D89C5}" type="presParOf" srcId="{DC0C7F7F-2754-44BB-B3B4-D56923445C60}" destId="{F010AFF0-9C1C-4867-95B2-98B46E10942E}" srcOrd="9" destOrd="0" presId="urn:microsoft.com/office/officeart/2008/layout/LinedList"/>
    <dgm:cxn modelId="{1A279F5F-3BD6-47DC-A0D9-5E720FDB4FAA}" type="presParOf" srcId="{F010AFF0-9C1C-4867-95B2-98B46E10942E}" destId="{0A202AC9-BAAE-4A52-96B8-398B62CF4FD3}" srcOrd="0" destOrd="0" presId="urn:microsoft.com/office/officeart/2008/layout/LinedList"/>
    <dgm:cxn modelId="{C9597278-1DFC-40A0-B25E-7F39D746ED6E}" type="presParOf" srcId="{F010AFF0-9C1C-4867-95B2-98B46E10942E}" destId="{6C6CEE8E-6FB2-4FD2-8D94-E8DA8C807B8F}" srcOrd="1" destOrd="0" presId="urn:microsoft.com/office/officeart/2008/layout/LinedList"/>
    <dgm:cxn modelId="{EEA027C7-0F6A-4319-A22F-8421D328F7C7}" type="presParOf" srcId="{DC0C7F7F-2754-44BB-B3B4-D56923445C60}" destId="{3E446127-EDF1-443E-B2EE-92ABC6D585E5}" srcOrd="10" destOrd="0" presId="urn:microsoft.com/office/officeart/2008/layout/LinedList"/>
    <dgm:cxn modelId="{86D7201F-CA1D-4AF9-88EE-AD71B53447B8}" type="presParOf" srcId="{DC0C7F7F-2754-44BB-B3B4-D56923445C60}" destId="{5940144F-D963-4DBA-9B7D-3596273FD6EE}" srcOrd="11" destOrd="0" presId="urn:microsoft.com/office/officeart/2008/layout/LinedList"/>
    <dgm:cxn modelId="{B08AB3D4-A28B-4D34-8716-DE6B34A8EAEE}" type="presParOf" srcId="{5940144F-D963-4DBA-9B7D-3596273FD6EE}" destId="{38B38372-902A-474E-A6CB-77B0BF2D2D7C}" srcOrd="0" destOrd="0" presId="urn:microsoft.com/office/officeart/2008/layout/LinedList"/>
    <dgm:cxn modelId="{32F535A7-787D-40CE-A085-40F6F4866CB6}" type="presParOf" srcId="{5940144F-D963-4DBA-9B7D-3596273FD6EE}" destId="{31299D15-10A9-4485-849C-01AEA8EACC2A}" srcOrd="1" destOrd="0" presId="urn:microsoft.com/office/officeart/2008/layout/LinedList"/>
    <dgm:cxn modelId="{84200B84-8F01-4D52-B403-C0944F717D5B}" type="presParOf" srcId="{DC0C7F7F-2754-44BB-B3B4-D56923445C60}" destId="{1EFD6A84-5F2E-44EA-8247-42A8E5465A55}" srcOrd="12" destOrd="0" presId="urn:microsoft.com/office/officeart/2008/layout/LinedList"/>
    <dgm:cxn modelId="{5859A844-5BDE-4A57-A20F-7FD58BFA255B}" type="presParOf" srcId="{DC0C7F7F-2754-44BB-B3B4-D56923445C60}" destId="{E2F0EF89-4D97-4E10-A8AD-F0695CF362DA}" srcOrd="13" destOrd="0" presId="urn:microsoft.com/office/officeart/2008/layout/LinedList"/>
    <dgm:cxn modelId="{62229456-D20A-47C9-8158-43EE32069619}" type="presParOf" srcId="{E2F0EF89-4D97-4E10-A8AD-F0695CF362DA}" destId="{8DC0A645-E0E7-49A5-B2B8-BB4671EC1695}" srcOrd="0" destOrd="0" presId="urn:microsoft.com/office/officeart/2008/layout/LinedList"/>
    <dgm:cxn modelId="{299EF87F-56F8-468B-BEAE-1B08BA575543}" type="presParOf" srcId="{E2F0EF89-4D97-4E10-A8AD-F0695CF362DA}" destId="{C2EB6E8B-B80A-4528-961A-2D7DBB69A4D9}" srcOrd="1" destOrd="0" presId="urn:microsoft.com/office/officeart/2008/layout/LinedList"/>
    <dgm:cxn modelId="{5F238AD1-667E-4E66-9095-A1DC40A5272A}" type="presParOf" srcId="{DC0C7F7F-2754-44BB-B3B4-D56923445C60}" destId="{B7802A97-2370-4783-9388-9B498C7CC033}" srcOrd="14" destOrd="0" presId="urn:microsoft.com/office/officeart/2008/layout/LinedList"/>
    <dgm:cxn modelId="{2027BBD4-5FDC-4F40-AE4D-5E6E9DB908B4}" type="presParOf" srcId="{DC0C7F7F-2754-44BB-B3B4-D56923445C60}" destId="{A09C67BC-F77A-4A45-9BFF-4B7F061FDD71}" srcOrd="15" destOrd="0" presId="urn:microsoft.com/office/officeart/2008/layout/LinedList"/>
    <dgm:cxn modelId="{744B8B1D-1150-4E9B-8445-763E453B4F9D}" type="presParOf" srcId="{A09C67BC-F77A-4A45-9BFF-4B7F061FDD71}" destId="{5C316A29-4C00-4767-99C7-053BFABD7C8B}" srcOrd="0" destOrd="0" presId="urn:microsoft.com/office/officeart/2008/layout/LinedList"/>
    <dgm:cxn modelId="{DD3AF736-D8E6-4F74-8CF8-7592A05214DA}" type="presParOf" srcId="{A09C67BC-F77A-4A45-9BFF-4B7F061FDD71}" destId="{2355128B-740E-4C70-92B4-184FAE1B467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0A73D0-1550-4687-869F-5A6DB250F08E}"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C22B8126-C9EB-44FD-AA7D-5A74E394BA77}">
      <dgm:prSet phldrT="[Text]"/>
      <dgm:spPr/>
      <dgm:t>
        <a:bodyPr/>
        <a:lstStyle/>
        <a:p>
          <a:r>
            <a:rPr lang="en-US" dirty="0" smtClean="0"/>
            <a:t>On-demand and self-service</a:t>
          </a:r>
          <a:endParaRPr lang="en-US" dirty="0"/>
        </a:p>
      </dgm:t>
    </dgm:pt>
    <dgm:pt modelId="{FA353AF3-D6EE-4389-B65F-A94258490DCE}" type="parTrans" cxnId="{F2BF10FC-D163-461A-B6D7-58E2157B34DD}">
      <dgm:prSet/>
      <dgm:spPr/>
      <dgm:t>
        <a:bodyPr/>
        <a:lstStyle/>
        <a:p>
          <a:endParaRPr lang="en-US"/>
        </a:p>
      </dgm:t>
    </dgm:pt>
    <dgm:pt modelId="{5445332A-DD1E-4FBF-93F0-740EEFA57814}" type="sibTrans" cxnId="{F2BF10FC-D163-461A-B6D7-58E2157B34DD}">
      <dgm:prSet/>
      <dgm:spPr/>
      <dgm:t>
        <a:bodyPr/>
        <a:lstStyle/>
        <a:p>
          <a:endParaRPr lang="en-US"/>
        </a:p>
      </dgm:t>
    </dgm:pt>
    <dgm:pt modelId="{5E20F2BD-8560-4EF7-BF2D-9D99B4E67C2C}">
      <dgm:prSet phldrT="[Text]"/>
      <dgm:spPr/>
      <dgm:t>
        <a:bodyPr/>
        <a:lstStyle/>
        <a:p>
          <a:r>
            <a:rPr lang="en-US" dirty="0" smtClean="0"/>
            <a:t>Shared resources pooling</a:t>
          </a:r>
          <a:endParaRPr lang="en-US" dirty="0"/>
        </a:p>
      </dgm:t>
    </dgm:pt>
    <dgm:pt modelId="{EF24EF9E-F955-4CBB-A2F9-7F68A84C95CB}" type="parTrans" cxnId="{3C7230C3-125F-4D64-B7F9-CFC8C8E724B6}">
      <dgm:prSet/>
      <dgm:spPr/>
      <dgm:t>
        <a:bodyPr/>
        <a:lstStyle/>
        <a:p>
          <a:endParaRPr lang="en-US"/>
        </a:p>
      </dgm:t>
    </dgm:pt>
    <dgm:pt modelId="{D9A65AD7-DF89-448D-B1CA-EACD0EF9E2A3}" type="sibTrans" cxnId="{3C7230C3-125F-4D64-B7F9-CFC8C8E724B6}">
      <dgm:prSet/>
      <dgm:spPr/>
      <dgm:t>
        <a:bodyPr/>
        <a:lstStyle/>
        <a:p>
          <a:endParaRPr lang="en-US"/>
        </a:p>
      </dgm:t>
    </dgm:pt>
    <dgm:pt modelId="{3DFBB433-7652-4A94-AD86-D24AACE2B063}">
      <dgm:prSet phldrT="[Text]"/>
      <dgm:spPr/>
      <dgm:t>
        <a:bodyPr/>
        <a:lstStyle/>
        <a:p>
          <a:r>
            <a:rPr lang="en-US" dirty="0" smtClean="0"/>
            <a:t>Rapid bi-directional elasticity</a:t>
          </a:r>
          <a:endParaRPr lang="en-US" dirty="0"/>
        </a:p>
      </dgm:t>
    </dgm:pt>
    <dgm:pt modelId="{2CC38F1F-00BB-455F-B7E5-829EA7126CE8}" type="parTrans" cxnId="{04218B3E-87CA-4EA6-B933-0024AB29293D}">
      <dgm:prSet/>
      <dgm:spPr/>
      <dgm:t>
        <a:bodyPr/>
        <a:lstStyle/>
        <a:p>
          <a:endParaRPr lang="en-US"/>
        </a:p>
      </dgm:t>
    </dgm:pt>
    <dgm:pt modelId="{E0A80F3F-660C-4BD7-81A6-DD1D93151A59}" type="sibTrans" cxnId="{04218B3E-87CA-4EA6-B933-0024AB29293D}">
      <dgm:prSet/>
      <dgm:spPr/>
      <dgm:t>
        <a:bodyPr/>
        <a:lstStyle/>
        <a:p>
          <a:endParaRPr lang="en-US"/>
        </a:p>
      </dgm:t>
    </dgm:pt>
    <dgm:pt modelId="{E0FA0E9F-B8C8-4685-B81F-9E1FFFEB68FB}">
      <dgm:prSet/>
      <dgm:spPr/>
      <dgm:t>
        <a:bodyPr/>
        <a:lstStyle/>
        <a:p>
          <a:r>
            <a:rPr lang="en-US" dirty="0" smtClean="0"/>
            <a:t>Measured service</a:t>
          </a:r>
          <a:endParaRPr lang="en-US" dirty="0"/>
        </a:p>
      </dgm:t>
    </dgm:pt>
    <dgm:pt modelId="{6D40EC7C-D1E4-469F-991F-D8771E34F9CD}" type="parTrans" cxnId="{B249E627-A203-4744-82DA-390FA259B0DB}">
      <dgm:prSet/>
      <dgm:spPr/>
      <dgm:t>
        <a:bodyPr/>
        <a:lstStyle/>
        <a:p>
          <a:endParaRPr lang="en-US"/>
        </a:p>
      </dgm:t>
    </dgm:pt>
    <dgm:pt modelId="{20940A00-D3DE-4A16-9166-F93F4F9F096E}" type="sibTrans" cxnId="{B249E627-A203-4744-82DA-390FA259B0DB}">
      <dgm:prSet/>
      <dgm:spPr/>
      <dgm:t>
        <a:bodyPr/>
        <a:lstStyle/>
        <a:p>
          <a:endParaRPr lang="en-US"/>
        </a:p>
      </dgm:t>
    </dgm:pt>
    <dgm:pt modelId="{EAD083A6-DC6F-4A09-BBBA-55055B435576}">
      <dgm:prSet/>
      <dgm:spPr/>
      <dgm:t>
        <a:bodyPr/>
        <a:lstStyle/>
        <a:p>
          <a:r>
            <a:rPr lang="en-US" dirty="0" smtClean="0"/>
            <a:t>Broad network access</a:t>
          </a:r>
          <a:endParaRPr lang="en-US" dirty="0"/>
        </a:p>
      </dgm:t>
    </dgm:pt>
    <dgm:pt modelId="{57B0807A-08AF-409C-9396-4B21E2147551}" type="parTrans" cxnId="{55641B4F-7377-411B-B622-A921413B418C}">
      <dgm:prSet/>
      <dgm:spPr/>
      <dgm:t>
        <a:bodyPr/>
        <a:lstStyle/>
        <a:p>
          <a:endParaRPr lang="en-US"/>
        </a:p>
      </dgm:t>
    </dgm:pt>
    <dgm:pt modelId="{CE5A505B-20BE-45C3-8693-6FFB2C82A4E9}" type="sibTrans" cxnId="{55641B4F-7377-411B-B622-A921413B418C}">
      <dgm:prSet/>
      <dgm:spPr/>
      <dgm:t>
        <a:bodyPr/>
        <a:lstStyle/>
        <a:p>
          <a:endParaRPr lang="en-US"/>
        </a:p>
      </dgm:t>
    </dgm:pt>
    <dgm:pt modelId="{195B054B-5666-48D6-934D-56A23425F41C}" type="pres">
      <dgm:prSet presAssocID="{630A73D0-1550-4687-869F-5A6DB250F08E}" presName="Name0" presStyleCnt="0">
        <dgm:presLayoutVars>
          <dgm:chMax val="7"/>
          <dgm:chPref val="7"/>
          <dgm:dir/>
        </dgm:presLayoutVars>
      </dgm:prSet>
      <dgm:spPr/>
      <dgm:t>
        <a:bodyPr/>
        <a:lstStyle/>
        <a:p>
          <a:endParaRPr lang="en-US"/>
        </a:p>
      </dgm:t>
    </dgm:pt>
    <dgm:pt modelId="{E761E86E-4138-4316-947D-44F6BCA77C4C}" type="pres">
      <dgm:prSet presAssocID="{630A73D0-1550-4687-869F-5A6DB250F08E}" presName="Name1" presStyleCnt="0"/>
      <dgm:spPr/>
    </dgm:pt>
    <dgm:pt modelId="{1F56323F-C4B8-43DB-864B-9F31C86E2088}" type="pres">
      <dgm:prSet presAssocID="{630A73D0-1550-4687-869F-5A6DB250F08E}" presName="cycle" presStyleCnt="0"/>
      <dgm:spPr/>
    </dgm:pt>
    <dgm:pt modelId="{7A07F458-38DB-497F-A240-9700C0A02C4C}" type="pres">
      <dgm:prSet presAssocID="{630A73D0-1550-4687-869F-5A6DB250F08E}" presName="srcNode" presStyleLbl="node1" presStyleIdx="0" presStyleCnt="5"/>
      <dgm:spPr/>
    </dgm:pt>
    <dgm:pt modelId="{5789249A-FD8B-472B-ACD1-9B128FE8FF71}" type="pres">
      <dgm:prSet presAssocID="{630A73D0-1550-4687-869F-5A6DB250F08E}" presName="conn" presStyleLbl="parChTrans1D2" presStyleIdx="0" presStyleCnt="1"/>
      <dgm:spPr/>
      <dgm:t>
        <a:bodyPr/>
        <a:lstStyle/>
        <a:p>
          <a:endParaRPr lang="en-US"/>
        </a:p>
      </dgm:t>
    </dgm:pt>
    <dgm:pt modelId="{E248E047-8022-44F0-B5B8-5C7DB3FF69E9}" type="pres">
      <dgm:prSet presAssocID="{630A73D0-1550-4687-869F-5A6DB250F08E}" presName="extraNode" presStyleLbl="node1" presStyleIdx="0" presStyleCnt="5"/>
      <dgm:spPr/>
    </dgm:pt>
    <dgm:pt modelId="{719FCD7C-B541-4B16-AC2D-EFD29963972F}" type="pres">
      <dgm:prSet presAssocID="{630A73D0-1550-4687-869F-5A6DB250F08E}" presName="dstNode" presStyleLbl="node1" presStyleIdx="0" presStyleCnt="5"/>
      <dgm:spPr/>
    </dgm:pt>
    <dgm:pt modelId="{36461496-79FA-470B-B2BC-A052108F17AB}" type="pres">
      <dgm:prSet presAssocID="{C22B8126-C9EB-44FD-AA7D-5A74E394BA77}" presName="text_1" presStyleLbl="node1" presStyleIdx="0" presStyleCnt="5">
        <dgm:presLayoutVars>
          <dgm:bulletEnabled val="1"/>
        </dgm:presLayoutVars>
      </dgm:prSet>
      <dgm:spPr/>
      <dgm:t>
        <a:bodyPr/>
        <a:lstStyle/>
        <a:p>
          <a:endParaRPr lang="en-US"/>
        </a:p>
      </dgm:t>
    </dgm:pt>
    <dgm:pt modelId="{5762D5F8-3AF9-4F43-B41E-6FF885A738B6}" type="pres">
      <dgm:prSet presAssocID="{C22B8126-C9EB-44FD-AA7D-5A74E394BA77}" presName="accent_1" presStyleCnt="0"/>
      <dgm:spPr/>
    </dgm:pt>
    <dgm:pt modelId="{11D7AFAE-7D1D-4F95-A077-9532D6A500AA}" type="pres">
      <dgm:prSet presAssocID="{C22B8126-C9EB-44FD-AA7D-5A74E394BA77}" presName="accentRepeatNode" presStyleLbl="solidFgAcc1" presStyleIdx="0" presStyleCnt="5"/>
      <dgm:spPr/>
    </dgm:pt>
    <dgm:pt modelId="{C8967CAF-11C1-48B5-B8AF-40B8B9D4ACD4}" type="pres">
      <dgm:prSet presAssocID="{5E20F2BD-8560-4EF7-BF2D-9D99B4E67C2C}" presName="text_2" presStyleLbl="node1" presStyleIdx="1" presStyleCnt="5">
        <dgm:presLayoutVars>
          <dgm:bulletEnabled val="1"/>
        </dgm:presLayoutVars>
      </dgm:prSet>
      <dgm:spPr/>
      <dgm:t>
        <a:bodyPr/>
        <a:lstStyle/>
        <a:p>
          <a:endParaRPr lang="en-US"/>
        </a:p>
      </dgm:t>
    </dgm:pt>
    <dgm:pt modelId="{24950F80-C585-48DD-9214-662B133266C5}" type="pres">
      <dgm:prSet presAssocID="{5E20F2BD-8560-4EF7-BF2D-9D99B4E67C2C}" presName="accent_2" presStyleCnt="0"/>
      <dgm:spPr/>
    </dgm:pt>
    <dgm:pt modelId="{AE6594B4-61E9-4350-A1D9-D0866EB3852B}" type="pres">
      <dgm:prSet presAssocID="{5E20F2BD-8560-4EF7-BF2D-9D99B4E67C2C}" presName="accentRepeatNode" presStyleLbl="solidFgAcc1" presStyleIdx="1" presStyleCnt="5"/>
      <dgm:spPr/>
    </dgm:pt>
    <dgm:pt modelId="{D8178065-2CB2-43AB-B7ED-57180D1851B4}" type="pres">
      <dgm:prSet presAssocID="{3DFBB433-7652-4A94-AD86-D24AACE2B063}" presName="text_3" presStyleLbl="node1" presStyleIdx="2" presStyleCnt="5">
        <dgm:presLayoutVars>
          <dgm:bulletEnabled val="1"/>
        </dgm:presLayoutVars>
      </dgm:prSet>
      <dgm:spPr/>
      <dgm:t>
        <a:bodyPr/>
        <a:lstStyle/>
        <a:p>
          <a:endParaRPr lang="en-US"/>
        </a:p>
      </dgm:t>
    </dgm:pt>
    <dgm:pt modelId="{13BC0EEE-9AF8-46B8-AC16-DB3B2E1C4B33}" type="pres">
      <dgm:prSet presAssocID="{3DFBB433-7652-4A94-AD86-D24AACE2B063}" presName="accent_3" presStyleCnt="0"/>
      <dgm:spPr/>
    </dgm:pt>
    <dgm:pt modelId="{729267B3-69A5-4103-9FE4-77CB196E96A9}" type="pres">
      <dgm:prSet presAssocID="{3DFBB433-7652-4A94-AD86-D24AACE2B063}" presName="accentRepeatNode" presStyleLbl="solidFgAcc1" presStyleIdx="2" presStyleCnt="5"/>
      <dgm:spPr/>
    </dgm:pt>
    <dgm:pt modelId="{74DAEE44-2E82-4CB0-9AF3-E187230BD1D3}" type="pres">
      <dgm:prSet presAssocID="{E0FA0E9F-B8C8-4685-B81F-9E1FFFEB68FB}" presName="text_4" presStyleLbl="node1" presStyleIdx="3" presStyleCnt="5">
        <dgm:presLayoutVars>
          <dgm:bulletEnabled val="1"/>
        </dgm:presLayoutVars>
      </dgm:prSet>
      <dgm:spPr/>
      <dgm:t>
        <a:bodyPr/>
        <a:lstStyle/>
        <a:p>
          <a:endParaRPr lang="en-US"/>
        </a:p>
      </dgm:t>
    </dgm:pt>
    <dgm:pt modelId="{5134F839-A7D5-4C0D-BF62-2A9DF7E58604}" type="pres">
      <dgm:prSet presAssocID="{E0FA0E9F-B8C8-4685-B81F-9E1FFFEB68FB}" presName="accent_4" presStyleCnt="0"/>
      <dgm:spPr/>
    </dgm:pt>
    <dgm:pt modelId="{515AEC89-42CB-4144-9589-584BDE16487C}" type="pres">
      <dgm:prSet presAssocID="{E0FA0E9F-B8C8-4685-B81F-9E1FFFEB68FB}" presName="accentRepeatNode" presStyleLbl="solidFgAcc1" presStyleIdx="3" presStyleCnt="5"/>
      <dgm:spPr/>
    </dgm:pt>
    <dgm:pt modelId="{FA4C0668-8995-4AA6-8141-B0AC476C6C29}" type="pres">
      <dgm:prSet presAssocID="{EAD083A6-DC6F-4A09-BBBA-55055B435576}" presName="text_5" presStyleLbl="node1" presStyleIdx="4" presStyleCnt="5">
        <dgm:presLayoutVars>
          <dgm:bulletEnabled val="1"/>
        </dgm:presLayoutVars>
      </dgm:prSet>
      <dgm:spPr/>
      <dgm:t>
        <a:bodyPr/>
        <a:lstStyle/>
        <a:p>
          <a:endParaRPr lang="en-US"/>
        </a:p>
      </dgm:t>
    </dgm:pt>
    <dgm:pt modelId="{6EB9BB1E-DF21-4AF9-A702-796AF1A821A0}" type="pres">
      <dgm:prSet presAssocID="{EAD083A6-DC6F-4A09-BBBA-55055B435576}" presName="accent_5" presStyleCnt="0"/>
      <dgm:spPr/>
    </dgm:pt>
    <dgm:pt modelId="{B9B6986F-15B8-4042-92B7-3219CB2AE168}" type="pres">
      <dgm:prSet presAssocID="{EAD083A6-DC6F-4A09-BBBA-55055B435576}" presName="accentRepeatNode" presStyleLbl="solidFgAcc1" presStyleIdx="4" presStyleCnt="5"/>
      <dgm:spPr/>
    </dgm:pt>
  </dgm:ptLst>
  <dgm:cxnLst>
    <dgm:cxn modelId="{55641B4F-7377-411B-B622-A921413B418C}" srcId="{630A73D0-1550-4687-869F-5A6DB250F08E}" destId="{EAD083A6-DC6F-4A09-BBBA-55055B435576}" srcOrd="4" destOrd="0" parTransId="{57B0807A-08AF-409C-9396-4B21E2147551}" sibTransId="{CE5A505B-20BE-45C3-8693-6FFB2C82A4E9}"/>
    <dgm:cxn modelId="{1C3DC653-7B86-4C9A-8B2B-10B8561B3F7A}" type="presOf" srcId="{630A73D0-1550-4687-869F-5A6DB250F08E}" destId="{195B054B-5666-48D6-934D-56A23425F41C}" srcOrd="0" destOrd="0" presId="urn:microsoft.com/office/officeart/2008/layout/VerticalCurvedList"/>
    <dgm:cxn modelId="{E4ADD8F0-7622-4D01-AE94-FA0AD46BF937}" type="presOf" srcId="{5445332A-DD1E-4FBF-93F0-740EEFA57814}" destId="{5789249A-FD8B-472B-ACD1-9B128FE8FF71}" srcOrd="0" destOrd="0" presId="urn:microsoft.com/office/officeart/2008/layout/VerticalCurvedList"/>
    <dgm:cxn modelId="{E74B8B4A-2D06-4B9C-95B1-03BFD1E9C9AF}" type="presOf" srcId="{3DFBB433-7652-4A94-AD86-D24AACE2B063}" destId="{D8178065-2CB2-43AB-B7ED-57180D1851B4}" srcOrd="0" destOrd="0" presId="urn:microsoft.com/office/officeart/2008/layout/VerticalCurvedList"/>
    <dgm:cxn modelId="{04218B3E-87CA-4EA6-B933-0024AB29293D}" srcId="{630A73D0-1550-4687-869F-5A6DB250F08E}" destId="{3DFBB433-7652-4A94-AD86-D24AACE2B063}" srcOrd="2" destOrd="0" parTransId="{2CC38F1F-00BB-455F-B7E5-829EA7126CE8}" sibTransId="{E0A80F3F-660C-4BD7-81A6-DD1D93151A59}"/>
    <dgm:cxn modelId="{E341A407-8193-4E21-8FA5-85FFA8B877AA}" type="presOf" srcId="{EAD083A6-DC6F-4A09-BBBA-55055B435576}" destId="{FA4C0668-8995-4AA6-8141-B0AC476C6C29}" srcOrd="0" destOrd="0" presId="urn:microsoft.com/office/officeart/2008/layout/VerticalCurvedList"/>
    <dgm:cxn modelId="{E526ED95-7FA4-4B78-B8E2-92441BDA3294}" type="presOf" srcId="{E0FA0E9F-B8C8-4685-B81F-9E1FFFEB68FB}" destId="{74DAEE44-2E82-4CB0-9AF3-E187230BD1D3}" srcOrd="0" destOrd="0" presId="urn:microsoft.com/office/officeart/2008/layout/VerticalCurvedList"/>
    <dgm:cxn modelId="{F659452F-8F65-498B-BDC8-20DB6D9384EE}" type="presOf" srcId="{C22B8126-C9EB-44FD-AA7D-5A74E394BA77}" destId="{36461496-79FA-470B-B2BC-A052108F17AB}" srcOrd="0" destOrd="0" presId="urn:microsoft.com/office/officeart/2008/layout/VerticalCurvedList"/>
    <dgm:cxn modelId="{873C71E2-7B59-4707-BC72-C9F4EEA88A36}" type="presOf" srcId="{5E20F2BD-8560-4EF7-BF2D-9D99B4E67C2C}" destId="{C8967CAF-11C1-48B5-B8AF-40B8B9D4ACD4}" srcOrd="0" destOrd="0" presId="urn:microsoft.com/office/officeart/2008/layout/VerticalCurvedList"/>
    <dgm:cxn modelId="{3C7230C3-125F-4D64-B7F9-CFC8C8E724B6}" srcId="{630A73D0-1550-4687-869F-5A6DB250F08E}" destId="{5E20F2BD-8560-4EF7-BF2D-9D99B4E67C2C}" srcOrd="1" destOrd="0" parTransId="{EF24EF9E-F955-4CBB-A2F9-7F68A84C95CB}" sibTransId="{D9A65AD7-DF89-448D-B1CA-EACD0EF9E2A3}"/>
    <dgm:cxn modelId="{F2BF10FC-D163-461A-B6D7-58E2157B34DD}" srcId="{630A73D0-1550-4687-869F-5A6DB250F08E}" destId="{C22B8126-C9EB-44FD-AA7D-5A74E394BA77}" srcOrd="0" destOrd="0" parTransId="{FA353AF3-D6EE-4389-B65F-A94258490DCE}" sibTransId="{5445332A-DD1E-4FBF-93F0-740EEFA57814}"/>
    <dgm:cxn modelId="{B249E627-A203-4744-82DA-390FA259B0DB}" srcId="{630A73D0-1550-4687-869F-5A6DB250F08E}" destId="{E0FA0E9F-B8C8-4685-B81F-9E1FFFEB68FB}" srcOrd="3" destOrd="0" parTransId="{6D40EC7C-D1E4-469F-991F-D8771E34F9CD}" sibTransId="{20940A00-D3DE-4A16-9166-F93F4F9F096E}"/>
    <dgm:cxn modelId="{10FA9B0D-9702-4AAB-95E6-B8A06267542D}" type="presParOf" srcId="{195B054B-5666-48D6-934D-56A23425F41C}" destId="{E761E86E-4138-4316-947D-44F6BCA77C4C}" srcOrd="0" destOrd="0" presId="urn:microsoft.com/office/officeart/2008/layout/VerticalCurvedList"/>
    <dgm:cxn modelId="{038A6348-D7B0-4D42-A884-D60D49572470}" type="presParOf" srcId="{E761E86E-4138-4316-947D-44F6BCA77C4C}" destId="{1F56323F-C4B8-43DB-864B-9F31C86E2088}" srcOrd="0" destOrd="0" presId="urn:microsoft.com/office/officeart/2008/layout/VerticalCurvedList"/>
    <dgm:cxn modelId="{E9D124DC-046D-4BBA-A649-19782E18AB98}" type="presParOf" srcId="{1F56323F-C4B8-43DB-864B-9F31C86E2088}" destId="{7A07F458-38DB-497F-A240-9700C0A02C4C}" srcOrd="0" destOrd="0" presId="urn:microsoft.com/office/officeart/2008/layout/VerticalCurvedList"/>
    <dgm:cxn modelId="{F490B8D0-40D3-47ED-A0BD-E79DD9D44281}" type="presParOf" srcId="{1F56323F-C4B8-43DB-864B-9F31C86E2088}" destId="{5789249A-FD8B-472B-ACD1-9B128FE8FF71}" srcOrd="1" destOrd="0" presId="urn:microsoft.com/office/officeart/2008/layout/VerticalCurvedList"/>
    <dgm:cxn modelId="{94BCB779-2151-4C29-A588-72FDBB1DE78F}" type="presParOf" srcId="{1F56323F-C4B8-43DB-864B-9F31C86E2088}" destId="{E248E047-8022-44F0-B5B8-5C7DB3FF69E9}" srcOrd="2" destOrd="0" presId="urn:microsoft.com/office/officeart/2008/layout/VerticalCurvedList"/>
    <dgm:cxn modelId="{464FEAB0-8070-432E-A58F-2FB71398BD6F}" type="presParOf" srcId="{1F56323F-C4B8-43DB-864B-9F31C86E2088}" destId="{719FCD7C-B541-4B16-AC2D-EFD29963972F}" srcOrd="3" destOrd="0" presId="urn:microsoft.com/office/officeart/2008/layout/VerticalCurvedList"/>
    <dgm:cxn modelId="{E8F9C393-27AC-4608-B138-88944021ED60}" type="presParOf" srcId="{E761E86E-4138-4316-947D-44F6BCA77C4C}" destId="{36461496-79FA-470B-B2BC-A052108F17AB}" srcOrd="1" destOrd="0" presId="urn:microsoft.com/office/officeart/2008/layout/VerticalCurvedList"/>
    <dgm:cxn modelId="{2939DD80-8063-4246-8510-16F00DA7D300}" type="presParOf" srcId="{E761E86E-4138-4316-947D-44F6BCA77C4C}" destId="{5762D5F8-3AF9-4F43-B41E-6FF885A738B6}" srcOrd="2" destOrd="0" presId="urn:microsoft.com/office/officeart/2008/layout/VerticalCurvedList"/>
    <dgm:cxn modelId="{92234F28-5E5D-4E9C-8F74-FCDFB5E45BF5}" type="presParOf" srcId="{5762D5F8-3AF9-4F43-B41E-6FF885A738B6}" destId="{11D7AFAE-7D1D-4F95-A077-9532D6A500AA}" srcOrd="0" destOrd="0" presId="urn:microsoft.com/office/officeart/2008/layout/VerticalCurvedList"/>
    <dgm:cxn modelId="{EFFB4009-2B82-4140-9AA8-BCD6BAE73491}" type="presParOf" srcId="{E761E86E-4138-4316-947D-44F6BCA77C4C}" destId="{C8967CAF-11C1-48B5-B8AF-40B8B9D4ACD4}" srcOrd="3" destOrd="0" presId="urn:microsoft.com/office/officeart/2008/layout/VerticalCurvedList"/>
    <dgm:cxn modelId="{6557F2ED-5BCF-4CB9-A3A4-9A624DDF0241}" type="presParOf" srcId="{E761E86E-4138-4316-947D-44F6BCA77C4C}" destId="{24950F80-C585-48DD-9214-662B133266C5}" srcOrd="4" destOrd="0" presId="urn:microsoft.com/office/officeart/2008/layout/VerticalCurvedList"/>
    <dgm:cxn modelId="{184B1428-FF5C-46EF-8F0A-777946CB94F4}" type="presParOf" srcId="{24950F80-C585-48DD-9214-662B133266C5}" destId="{AE6594B4-61E9-4350-A1D9-D0866EB3852B}" srcOrd="0" destOrd="0" presId="urn:microsoft.com/office/officeart/2008/layout/VerticalCurvedList"/>
    <dgm:cxn modelId="{2EAF6E14-51F6-4C8F-9E2B-13198B5E0DCA}" type="presParOf" srcId="{E761E86E-4138-4316-947D-44F6BCA77C4C}" destId="{D8178065-2CB2-43AB-B7ED-57180D1851B4}" srcOrd="5" destOrd="0" presId="urn:microsoft.com/office/officeart/2008/layout/VerticalCurvedList"/>
    <dgm:cxn modelId="{8468EC22-77F3-4C73-A7BF-24CCC7158D6E}" type="presParOf" srcId="{E761E86E-4138-4316-947D-44F6BCA77C4C}" destId="{13BC0EEE-9AF8-46B8-AC16-DB3B2E1C4B33}" srcOrd="6" destOrd="0" presId="urn:microsoft.com/office/officeart/2008/layout/VerticalCurvedList"/>
    <dgm:cxn modelId="{19F7A516-C513-4B5C-8CE4-FB2139E362AF}" type="presParOf" srcId="{13BC0EEE-9AF8-46B8-AC16-DB3B2E1C4B33}" destId="{729267B3-69A5-4103-9FE4-77CB196E96A9}" srcOrd="0" destOrd="0" presId="urn:microsoft.com/office/officeart/2008/layout/VerticalCurvedList"/>
    <dgm:cxn modelId="{C53A7241-6056-4CE4-8F11-8BFEDF35EC86}" type="presParOf" srcId="{E761E86E-4138-4316-947D-44F6BCA77C4C}" destId="{74DAEE44-2E82-4CB0-9AF3-E187230BD1D3}" srcOrd="7" destOrd="0" presId="urn:microsoft.com/office/officeart/2008/layout/VerticalCurvedList"/>
    <dgm:cxn modelId="{6EF29A5C-91CD-4A05-89AB-17ACE8766270}" type="presParOf" srcId="{E761E86E-4138-4316-947D-44F6BCA77C4C}" destId="{5134F839-A7D5-4C0D-BF62-2A9DF7E58604}" srcOrd="8" destOrd="0" presId="urn:microsoft.com/office/officeart/2008/layout/VerticalCurvedList"/>
    <dgm:cxn modelId="{58789450-07C9-4D32-BA4F-417440FD1942}" type="presParOf" srcId="{5134F839-A7D5-4C0D-BF62-2A9DF7E58604}" destId="{515AEC89-42CB-4144-9589-584BDE16487C}" srcOrd="0" destOrd="0" presId="urn:microsoft.com/office/officeart/2008/layout/VerticalCurvedList"/>
    <dgm:cxn modelId="{FE0EEF3E-C77E-4F1A-A223-27987157381F}" type="presParOf" srcId="{E761E86E-4138-4316-947D-44F6BCA77C4C}" destId="{FA4C0668-8995-4AA6-8141-B0AC476C6C29}" srcOrd="9" destOrd="0" presId="urn:microsoft.com/office/officeart/2008/layout/VerticalCurvedList"/>
    <dgm:cxn modelId="{524FEA90-BFFF-4CEE-B662-E8A454039A1E}" type="presParOf" srcId="{E761E86E-4138-4316-947D-44F6BCA77C4C}" destId="{6EB9BB1E-DF21-4AF9-A702-796AF1A821A0}" srcOrd="10" destOrd="0" presId="urn:microsoft.com/office/officeart/2008/layout/VerticalCurvedList"/>
    <dgm:cxn modelId="{D149E928-50B6-4063-8B9A-19CD12B00AB4}" type="presParOf" srcId="{6EB9BB1E-DF21-4AF9-A702-796AF1A821A0}" destId="{B9B6986F-15B8-4042-92B7-3219CB2AE16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1FAF10-3A35-4627-ACD9-DD2E27D7818D}"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11EC65D-7F84-47C5-8B4E-B083EA7B21F1}">
      <dgm:prSet phldrT="[Text]" custT="1"/>
      <dgm:spPr/>
      <dgm:t>
        <a:bodyPr/>
        <a:lstStyle/>
        <a:p>
          <a:r>
            <a:rPr lang="en-US" sz="2000" b="0" smtClean="0"/>
            <a:t>Infrastructure as a Service</a:t>
          </a:r>
          <a:endParaRPr lang="en-US" sz="2000" b="0" dirty="0"/>
        </a:p>
      </dgm:t>
    </dgm:pt>
    <dgm:pt modelId="{3953D284-9E32-4F6A-B406-FCFB61A41250}" type="parTrans" cxnId="{2D4B63E8-778C-4D2B-99AA-03417A8E29BC}">
      <dgm:prSet/>
      <dgm:spPr/>
      <dgm:t>
        <a:bodyPr/>
        <a:lstStyle/>
        <a:p>
          <a:endParaRPr lang="en-US"/>
        </a:p>
      </dgm:t>
    </dgm:pt>
    <dgm:pt modelId="{CCFB4DA0-542F-4E3D-9DE0-45AEC1B30980}" type="sibTrans" cxnId="{2D4B63E8-778C-4D2B-99AA-03417A8E29BC}">
      <dgm:prSet/>
      <dgm:spPr/>
      <dgm:t>
        <a:bodyPr/>
        <a:lstStyle/>
        <a:p>
          <a:endParaRPr lang="en-US"/>
        </a:p>
      </dgm:t>
    </dgm:pt>
    <dgm:pt modelId="{E28D823D-3CB3-4713-8AFD-87415D46FE7C}">
      <dgm:prSet phldrT="[Text]" custT="1"/>
      <dgm:spPr/>
      <dgm:t>
        <a:bodyPr/>
        <a:lstStyle/>
        <a:p>
          <a:r>
            <a:rPr lang="en-US" sz="1600" dirty="0" smtClean="0"/>
            <a:t>Provisioning model in which an organization outsources the equipment used to support operations including storage, hardware, services and networking components. </a:t>
          </a:r>
          <a:endParaRPr lang="en-US" sz="1600" dirty="0"/>
        </a:p>
      </dgm:t>
    </dgm:pt>
    <dgm:pt modelId="{55107FE9-5145-4944-8AE7-1935B751BCA6}" type="parTrans" cxnId="{C101E1BD-1622-48B2-9CDE-5FBB0BC3FF10}">
      <dgm:prSet/>
      <dgm:spPr/>
      <dgm:t>
        <a:bodyPr/>
        <a:lstStyle/>
        <a:p>
          <a:endParaRPr lang="en-US"/>
        </a:p>
      </dgm:t>
    </dgm:pt>
    <dgm:pt modelId="{6E62BC77-53DB-4364-AACC-325CE6A6BC6A}" type="sibTrans" cxnId="{C101E1BD-1622-48B2-9CDE-5FBB0BC3FF10}">
      <dgm:prSet/>
      <dgm:spPr/>
      <dgm:t>
        <a:bodyPr/>
        <a:lstStyle/>
        <a:p>
          <a:endParaRPr lang="en-US"/>
        </a:p>
      </dgm:t>
    </dgm:pt>
    <dgm:pt modelId="{0404BF3F-4E88-4C61-8F36-743CAA074908}">
      <dgm:prSet phldrT="[Text]" custT="1"/>
      <dgm:spPr/>
      <dgm:t>
        <a:bodyPr/>
        <a:lstStyle/>
        <a:p>
          <a:r>
            <a:rPr lang="en-US" sz="2000" b="0" dirty="0" smtClean="0"/>
            <a:t>Platform as a Service</a:t>
          </a:r>
        </a:p>
      </dgm:t>
    </dgm:pt>
    <dgm:pt modelId="{7DF9289A-6ED8-44CC-92C7-10F462B68B41}" type="parTrans" cxnId="{85DA0FCB-B5A0-455A-BF63-6C3989743EE6}">
      <dgm:prSet/>
      <dgm:spPr/>
      <dgm:t>
        <a:bodyPr/>
        <a:lstStyle/>
        <a:p>
          <a:endParaRPr lang="en-US"/>
        </a:p>
      </dgm:t>
    </dgm:pt>
    <dgm:pt modelId="{ACC9EE5A-24A8-4D2A-88A6-733A0E6BC95E}" type="sibTrans" cxnId="{85DA0FCB-B5A0-455A-BF63-6C3989743EE6}">
      <dgm:prSet/>
      <dgm:spPr/>
      <dgm:t>
        <a:bodyPr/>
        <a:lstStyle/>
        <a:p>
          <a:endParaRPr lang="en-US"/>
        </a:p>
      </dgm:t>
    </dgm:pt>
    <dgm:pt modelId="{1998B20A-49CB-43BB-8EEC-16B1897225E6}">
      <dgm:prSet phldrT="[Text]" custT="1"/>
      <dgm:spPr/>
      <dgm:t>
        <a:bodyPr/>
        <a:lstStyle/>
        <a:p>
          <a:r>
            <a:rPr lang="en-IN" sz="1600" dirty="0" smtClean="0"/>
            <a:t>Completely managed Cloud computing environment into which you deploy and run your applications</a:t>
          </a:r>
          <a:endParaRPr lang="en-US" sz="1600" dirty="0"/>
        </a:p>
      </dgm:t>
    </dgm:pt>
    <dgm:pt modelId="{1A421B61-C263-4295-BDA7-B93B99806D33}" type="parTrans" cxnId="{8E94ABB6-1CEC-4978-B3FE-5E954FFC9175}">
      <dgm:prSet/>
      <dgm:spPr/>
      <dgm:t>
        <a:bodyPr/>
        <a:lstStyle/>
        <a:p>
          <a:endParaRPr lang="en-US"/>
        </a:p>
      </dgm:t>
    </dgm:pt>
    <dgm:pt modelId="{EED7C55C-01D7-49B3-BB5C-3AAD4DB10967}" type="sibTrans" cxnId="{8E94ABB6-1CEC-4978-B3FE-5E954FFC9175}">
      <dgm:prSet/>
      <dgm:spPr/>
      <dgm:t>
        <a:bodyPr/>
        <a:lstStyle/>
        <a:p>
          <a:endParaRPr lang="en-US"/>
        </a:p>
      </dgm:t>
    </dgm:pt>
    <dgm:pt modelId="{BE5E4977-44F5-41DF-B5DC-326F8A74EA8C}">
      <dgm:prSet phldrT="[Text]" custT="1"/>
      <dgm:spPr/>
      <dgm:t>
        <a:bodyPr/>
        <a:lstStyle/>
        <a:p>
          <a:r>
            <a:rPr lang="en-US" sz="2000" b="0" smtClean="0"/>
            <a:t>Software as a Service</a:t>
          </a:r>
          <a:endParaRPr lang="en-US" sz="2000" b="0" dirty="0" smtClean="0"/>
        </a:p>
      </dgm:t>
    </dgm:pt>
    <dgm:pt modelId="{EACF9DE2-4251-4145-B86B-914D3FAE428B}" type="parTrans" cxnId="{1A718598-4667-41F2-AF28-D83E0554CFE0}">
      <dgm:prSet/>
      <dgm:spPr/>
      <dgm:t>
        <a:bodyPr/>
        <a:lstStyle/>
        <a:p>
          <a:endParaRPr lang="en-US"/>
        </a:p>
      </dgm:t>
    </dgm:pt>
    <dgm:pt modelId="{1DF234DE-35E4-498F-A84B-7308AF06032E}" type="sibTrans" cxnId="{1A718598-4667-41F2-AF28-D83E0554CFE0}">
      <dgm:prSet/>
      <dgm:spPr/>
      <dgm:t>
        <a:bodyPr/>
        <a:lstStyle/>
        <a:p>
          <a:endParaRPr lang="en-US"/>
        </a:p>
      </dgm:t>
    </dgm:pt>
    <dgm:pt modelId="{F8757AE3-919D-47A7-A529-C60A168DFCB4}">
      <dgm:prSet phldrT="[Text]" custT="1"/>
      <dgm:spPr/>
      <dgm:t>
        <a:bodyPr/>
        <a:lstStyle/>
        <a:p>
          <a:r>
            <a:rPr lang="en-IN" sz="1600" dirty="0" smtClean="0"/>
            <a:t>Software distribution model in which applications are hosted by a vendor or service provider and made available to customers over the Internet</a:t>
          </a:r>
          <a:endParaRPr lang="en-US" sz="1600" dirty="0"/>
        </a:p>
      </dgm:t>
    </dgm:pt>
    <dgm:pt modelId="{E3A5730D-A2BF-4AEA-B983-F9656379E95C}" type="parTrans" cxnId="{11E4A430-C5A9-41D5-82B4-A9340CF5B13B}">
      <dgm:prSet/>
      <dgm:spPr/>
      <dgm:t>
        <a:bodyPr/>
        <a:lstStyle/>
        <a:p>
          <a:endParaRPr lang="en-US"/>
        </a:p>
      </dgm:t>
    </dgm:pt>
    <dgm:pt modelId="{D0F6B67F-DFBB-4074-901A-9EFF1DDC24F1}" type="sibTrans" cxnId="{11E4A430-C5A9-41D5-82B4-A9340CF5B13B}">
      <dgm:prSet/>
      <dgm:spPr/>
      <dgm:t>
        <a:bodyPr/>
        <a:lstStyle/>
        <a:p>
          <a:endParaRPr lang="en-US"/>
        </a:p>
      </dgm:t>
    </dgm:pt>
    <dgm:pt modelId="{9385EA97-5130-4CCA-8FC1-79834F8AAFD1}" type="pres">
      <dgm:prSet presAssocID="{CA1FAF10-3A35-4627-ACD9-DD2E27D7818D}" presName="Name0" presStyleCnt="0">
        <dgm:presLayoutVars>
          <dgm:dir/>
          <dgm:animLvl val="lvl"/>
          <dgm:resizeHandles val="exact"/>
        </dgm:presLayoutVars>
      </dgm:prSet>
      <dgm:spPr/>
      <dgm:t>
        <a:bodyPr/>
        <a:lstStyle/>
        <a:p>
          <a:endParaRPr lang="en-US"/>
        </a:p>
      </dgm:t>
    </dgm:pt>
    <dgm:pt modelId="{70590CDA-CB49-42A0-B406-15AD47EB3678}" type="pres">
      <dgm:prSet presAssocID="{911EC65D-7F84-47C5-8B4E-B083EA7B21F1}" presName="composite" presStyleCnt="0"/>
      <dgm:spPr/>
      <dgm:t>
        <a:bodyPr/>
        <a:lstStyle/>
        <a:p>
          <a:endParaRPr lang="en-US"/>
        </a:p>
      </dgm:t>
    </dgm:pt>
    <dgm:pt modelId="{6038C395-0E87-4A42-B315-662F41A51C87}" type="pres">
      <dgm:prSet presAssocID="{911EC65D-7F84-47C5-8B4E-B083EA7B21F1}" presName="parTx" presStyleLbl="alignNode1" presStyleIdx="0" presStyleCnt="3" custScaleX="110755">
        <dgm:presLayoutVars>
          <dgm:chMax val="0"/>
          <dgm:chPref val="0"/>
          <dgm:bulletEnabled val="1"/>
        </dgm:presLayoutVars>
      </dgm:prSet>
      <dgm:spPr/>
      <dgm:t>
        <a:bodyPr/>
        <a:lstStyle/>
        <a:p>
          <a:endParaRPr lang="en-US"/>
        </a:p>
      </dgm:t>
    </dgm:pt>
    <dgm:pt modelId="{C034F681-641B-4229-AE06-8B27216445AE}" type="pres">
      <dgm:prSet presAssocID="{911EC65D-7F84-47C5-8B4E-B083EA7B21F1}" presName="desTx" presStyleLbl="alignAccFollowNode1" presStyleIdx="0" presStyleCnt="3" custScaleX="110755">
        <dgm:presLayoutVars>
          <dgm:bulletEnabled val="1"/>
        </dgm:presLayoutVars>
      </dgm:prSet>
      <dgm:spPr/>
      <dgm:t>
        <a:bodyPr/>
        <a:lstStyle/>
        <a:p>
          <a:endParaRPr lang="en-US"/>
        </a:p>
      </dgm:t>
    </dgm:pt>
    <dgm:pt modelId="{801E425C-728B-4F59-B4EB-279DAD5634C4}" type="pres">
      <dgm:prSet presAssocID="{CCFB4DA0-542F-4E3D-9DE0-45AEC1B30980}" presName="space" presStyleCnt="0"/>
      <dgm:spPr/>
      <dgm:t>
        <a:bodyPr/>
        <a:lstStyle/>
        <a:p>
          <a:endParaRPr lang="en-US"/>
        </a:p>
      </dgm:t>
    </dgm:pt>
    <dgm:pt modelId="{17E1B8CE-6FAB-4F7C-8BEB-7F074468B397}" type="pres">
      <dgm:prSet presAssocID="{0404BF3F-4E88-4C61-8F36-743CAA074908}" presName="composite" presStyleCnt="0"/>
      <dgm:spPr/>
      <dgm:t>
        <a:bodyPr/>
        <a:lstStyle/>
        <a:p>
          <a:endParaRPr lang="en-US"/>
        </a:p>
      </dgm:t>
    </dgm:pt>
    <dgm:pt modelId="{81FC482D-F9C6-4FE8-B625-BF7EC7D26A7B}" type="pres">
      <dgm:prSet presAssocID="{0404BF3F-4E88-4C61-8F36-743CAA074908}" presName="parTx" presStyleLbl="alignNode1" presStyleIdx="1" presStyleCnt="3" custScaleX="95842" custLinFactNeighborX="-92">
        <dgm:presLayoutVars>
          <dgm:chMax val="0"/>
          <dgm:chPref val="0"/>
          <dgm:bulletEnabled val="1"/>
        </dgm:presLayoutVars>
      </dgm:prSet>
      <dgm:spPr/>
      <dgm:t>
        <a:bodyPr/>
        <a:lstStyle/>
        <a:p>
          <a:endParaRPr lang="en-US"/>
        </a:p>
      </dgm:t>
    </dgm:pt>
    <dgm:pt modelId="{37F571F4-5E75-4B65-A6A2-1F409375DEA5}" type="pres">
      <dgm:prSet presAssocID="{0404BF3F-4E88-4C61-8F36-743CAA074908}" presName="desTx" presStyleLbl="alignAccFollowNode1" presStyleIdx="1" presStyleCnt="3" custScaleX="95842" custLinFactNeighborX="-92">
        <dgm:presLayoutVars>
          <dgm:bulletEnabled val="1"/>
        </dgm:presLayoutVars>
      </dgm:prSet>
      <dgm:spPr/>
      <dgm:t>
        <a:bodyPr/>
        <a:lstStyle/>
        <a:p>
          <a:endParaRPr lang="en-US"/>
        </a:p>
      </dgm:t>
    </dgm:pt>
    <dgm:pt modelId="{F8BEF20F-9EC2-4E52-80B9-889290BE9E86}" type="pres">
      <dgm:prSet presAssocID="{ACC9EE5A-24A8-4D2A-88A6-733A0E6BC95E}" presName="space" presStyleCnt="0"/>
      <dgm:spPr/>
      <dgm:t>
        <a:bodyPr/>
        <a:lstStyle/>
        <a:p>
          <a:endParaRPr lang="en-US"/>
        </a:p>
      </dgm:t>
    </dgm:pt>
    <dgm:pt modelId="{6F7078F9-EF88-4C63-97EC-C1ED6260F534}" type="pres">
      <dgm:prSet presAssocID="{BE5E4977-44F5-41DF-B5DC-326F8A74EA8C}" presName="composite" presStyleCnt="0"/>
      <dgm:spPr/>
      <dgm:t>
        <a:bodyPr/>
        <a:lstStyle/>
        <a:p>
          <a:endParaRPr lang="en-US"/>
        </a:p>
      </dgm:t>
    </dgm:pt>
    <dgm:pt modelId="{CD7FD49E-C84C-486E-9B12-F57B53E164E9}" type="pres">
      <dgm:prSet presAssocID="{BE5E4977-44F5-41DF-B5DC-326F8A74EA8C}" presName="parTx" presStyleLbl="alignNode1" presStyleIdx="2" presStyleCnt="3" custScaleX="96482">
        <dgm:presLayoutVars>
          <dgm:chMax val="0"/>
          <dgm:chPref val="0"/>
          <dgm:bulletEnabled val="1"/>
        </dgm:presLayoutVars>
      </dgm:prSet>
      <dgm:spPr/>
      <dgm:t>
        <a:bodyPr/>
        <a:lstStyle/>
        <a:p>
          <a:endParaRPr lang="en-US"/>
        </a:p>
      </dgm:t>
    </dgm:pt>
    <dgm:pt modelId="{663B6DBE-8025-434B-A222-4BE2DB2561CC}" type="pres">
      <dgm:prSet presAssocID="{BE5E4977-44F5-41DF-B5DC-326F8A74EA8C}" presName="desTx" presStyleLbl="alignAccFollowNode1" presStyleIdx="2" presStyleCnt="3" custScaleX="96482">
        <dgm:presLayoutVars>
          <dgm:bulletEnabled val="1"/>
        </dgm:presLayoutVars>
      </dgm:prSet>
      <dgm:spPr/>
      <dgm:t>
        <a:bodyPr/>
        <a:lstStyle/>
        <a:p>
          <a:endParaRPr lang="en-US"/>
        </a:p>
      </dgm:t>
    </dgm:pt>
  </dgm:ptLst>
  <dgm:cxnLst>
    <dgm:cxn modelId="{85DA0FCB-B5A0-455A-BF63-6C3989743EE6}" srcId="{CA1FAF10-3A35-4627-ACD9-DD2E27D7818D}" destId="{0404BF3F-4E88-4C61-8F36-743CAA074908}" srcOrd="1" destOrd="0" parTransId="{7DF9289A-6ED8-44CC-92C7-10F462B68B41}" sibTransId="{ACC9EE5A-24A8-4D2A-88A6-733A0E6BC95E}"/>
    <dgm:cxn modelId="{EC2546FA-6189-4B5C-A426-8ECD3250B7C5}" type="presOf" srcId="{E28D823D-3CB3-4713-8AFD-87415D46FE7C}" destId="{C034F681-641B-4229-AE06-8B27216445AE}" srcOrd="0" destOrd="0" presId="urn:microsoft.com/office/officeart/2005/8/layout/hList1"/>
    <dgm:cxn modelId="{8E94ABB6-1CEC-4978-B3FE-5E954FFC9175}" srcId="{0404BF3F-4E88-4C61-8F36-743CAA074908}" destId="{1998B20A-49CB-43BB-8EEC-16B1897225E6}" srcOrd="0" destOrd="0" parTransId="{1A421B61-C263-4295-BDA7-B93B99806D33}" sibTransId="{EED7C55C-01D7-49B3-BB5C-3AAD4DB10967}"/>
    <dgm:cxn modelId="{47664920-570C-456F-937A-3BDAAAC7195A}" type="presOf" srcId="{0404BF3F-4E88-4C61-8F36-743CAA074908}" destId="{81FC482D-F9C6-4FE8-B625-BF7EC7D26A7B}" srcOrd="0" destOrd="0" presId="urn:microsoft.com/office/officeart/2005/8/layout/hList1"/>
    <dgm:cxn modelId="{A8003B32-7E06-40C6-B691-2DFF95E954BE}" type="presOf" srcId="{BE5E4977-44F5-41DF-B5DC-326F8A74EA8C}" destId="{CD7FD49E-C84C-486E-9B12-F57B53E164E9}" srcOrd="0" destOrd="0" presId="urn:microsoft.com/office/officeart/2005/8/layout/hList1"/>
    <dgm:cxn modelId="{6177BA93-6F2B-415B-A87B-74E9AC69F1D9}" type="presOf" srcId="{911EC65D-7F84-47C5-8B4E-B083EA7B21F1}" destId="{6038C395-0E87-4A42-B315-662F41A51C87}" srcOrd="0" destOrd="0" presId="urn:microsoft.com/office/officeart/2005/8/layout/hList1"/>
    <dgm:cxn modelId="{72F2FC6F-0F75-40C0-B65A-3D815B9BA84B}" type="presOf" srcId="{F8757AE3-919D-47A7-A529-C60A168DFCB4}" destId="{663B6DBE-8025-434B-A222-4BE2DB2561CC}" srcOrd="0" destOrd="0" presId="urn:microsoft.com/office/officeart/2005/8/layout/hList1"/>
    <dgm:cxn modelId="{2D4B63E8-778C-4D2B-99AA-03417A8E29BC}" srcId="{CA1FAF10-3A35-4627-ACD9-DD2E27D7818D}" destId="{911EC65D-7F84-47C5-8B4E-B083EA7B21F1}" srcOrd="0" destOrd="0" parTransId="{3953D284-9E32-4F6A-B406-FCFB61A41250}" sibTransId="{CCFB4DA0-542F-4E3D-9DE0-45AEC1B30980}"/>
    <dgm:cxn modelId="{11E4A430-C5A9-41D5-82B4-A9340CF5B13B}" srcId="{BE5E4977-44F5-41DF-B5DC-326F8A74EA8C}" destId="{F8757AE3-919D-47A7-A529-C60A168DFCB4}" srcOrd="0" destOrd="0" parTransId="{E3A5730D-A2BF-4AEA-B983-F9656379E95C}" sibTransId="{D0F6B67F-DFBB-4074-901A-9EFF1DDC24F1}"/>
    <dgm:cxn modelId="{1A718598-4667-41F2-AF28-D83E0554CFE0}" srcId="{CA1FAF10-3A35-4627-ACD9-DD2E27D7818D}" destId="{BE5E4977-44F5-41DF-B5DC-326F8A74EA8C}" srcOrd="2" destOrd="0" parTransId="{EACF9DE2-4251-4145-B86B-914D3FAE428B}" sibTransId="{1DF234DE-35E4-498F-A84B-7308AF06032E}"/>
    <dgm:cxn modelId="{C101E1BD-1622-48B2-9CDE-5FBB0BC3FF10}" srcId="{911EC65D-7F84-47C5-8B4E-B083EA7B21F1}" destId="{E28D823D-3CB3-4713-8AFD-87415D46FE7C}" srcOrd="0" destOrd="0" parTransId="{55107FE9-5145-4944-8AE7-1935B751BCA6}" sibTransId="{6E62BC77-53DB-4364-AACC-325CE6A6BC6A}"/>
    <dgm:cxn modelId="{B47929D5-A699-49F8-9BCE-18EB23C8EF21}" type="presOf" srcId="{1998B20A-49CB-43BB-8EEC-16B1897225E6}" destId="{37F571F4-5E75-4B65-A6A2-1F409375DEA5}" srcOrd="0" destOrd="0" presId="urn:microsoft.com/office/officeart/2005/8/layout/hList1"/>
    <dgm:cxn modelId="{F596E351-BCAD-4ABC-97C1-C0B2AF524C73}" type="presOf" srcId="{CA1FAF10-3A35-4627-ACD9-DD2E27D7818D}" destId="{9385EA97-5130-4CCA-8FC1-79834F8AAFD1}" srcOrd="0" destOrd="0" presId="urn:microsoft.com/office/officeart/2005/8/layout/hList1"/>
    <dgm:cxn modelId="{B6670A0D-5802-48DA-B730-BEB0BD90BE86}" type="presParOf" srcId="{9385EA97-5130-4CCA-8FC1-79834F8AAFD1}" destId="{70590CDA-CB49-42A0-B406-15AD47EB3678}" srcOrd="0" destOrd="0" presId="urn:microsoft.com/office/officeart/2005/8/layout/hList1"/>
    <dgm:cxn modelId="{47F03534-23AC-4B53-9F8E-52C18383419C}" type="presParOf" srcId="{70590CDA-CB49-42A0-B406-15AD47EB3678}" destId="{6038C395-0E87-4A42-B315-662F41A51C87}" srcOrd="0" destOrd="0" presId="urn:microsoft.com/office/officeart/2005/8/layout/hList1"/>
    <dgm:cxn modelId="{96CB3BAD-0ECC-4BB2-8C59-0C1A731A249A}" type="presParOf" srcId="{70590CDA-CB49-42A0-B406-15AD47EB3678}" destId="{C034F681-641B-4229-AE06-8B27216445AE}" srcOrd="1" destOrd="0" presId="urn:microsoft.com/office/officeart/2005/8/layout/hList1"/>
    <dgm:cxn modelId="{BB361957-B9F4-4DB9-AC98-8D9EADE1C36E}" type="presParOf" srcId="{9385EA97-5130-4CCA-8FC1-79834F8AAFD1}" destId="{801E425C-728B-4F59-B4EB-279DAD5634C4}" srcOrd="1" destOrd="0" presId="urn:microsoft.com/office/officeart/2005/8/layout/hList1"/>
    <dgm:cxn modelId="{A64F35E0-E79C-43CB-9741-DC3D1BFEB9BE}" type="presParOf" srcId="{9385EA97-5130-4CCA-8FC1-79834F8AAFD1}" destId="{17E1B8CE-6FAB-4F7C-8BEB-7F074468B397}" srcOrd="2" destOrd="0" presId="urn:microsoft.com/office/officeart/2005/8/layout/hList1"/>
    <dgm:cxn modelId="{34B34B80-4849-4DF1-96B1-918E5502D9C9}" type="presParOf" srcId="{17E1B8CE-6FAB-4F7C-8BEB-7F074468B397}" destId="{81FC482D-F9C6-4FE8-B625-BF7EC7D26A7B}" srcOrd="0" destOrd="0" presId="urn:microsoft.com/office/officeart/2005/8/layout/hList1"/>
    <dgm:cxn modelId="{7793815D-05A0-4745-A6FA-BAEEC9F1227A}" type="presParOf" srcId="{17E1B8CE-6FAB-4F7C-8BEB-7F074468B397}" destId="{37F571F4-5E75-4B65-A6A2-1F409375DEA5}" srcOrd="1" destOrd="0" presId="urn:microsoft.com/office/officeart/2005/8/layout/hList1"/>
    <dgm:cxn modelId="{38619A01-F93E-4F0C-B41E-8C520B9DE749}" type="presParOf" srcId="{9385EA97-5130-4CCA-8FC1-79834F8AAFD1}" destId="{F8BEF20F-9EC2-4E52-80B9-889290BE9E86}" srcOrd="3" destOrd="0" presId="urn:microsoft.com/office/officeart/2005/8/layout/hList1"/>
    <dgm:cxn modelId="{6AE53F80-A8DA-46C9-B898-9ED44CA0363F}" type="presParOf" srcId="{9385EA97-5130-4CCA-8FC1-79834F8AAFD1}" destId="{6F7078F9-EF88-4C63-97EC-C1ED6260F534}" srcOrd="4" destOrd="0" presId="urn:microsoft.com/office/officeart/2005/8/layout/hList1"/>
    <dgm:cxn modelId="{B9A8F8BB-86F5-4A17-996D-318C4DFFE3B0}" type="presParOf" srcId="{6F7078F9-EF88-4C63-97EC-C1ED6260F534}" destId="{CD7FD49E-C84C-486E-9B12-F57B53E164E9}" srcOrd="0" destOrd="0" presId="urn:microsoft.com/office/officeart/2005/8/layout/hList1"/>
    <dgm:cxn modelId="{2F545DE2-A9C8-4C2E-9BB9-777838E399FD}" type="presParOf" srcId="{6F7078F9-EF88-4C63-97EC-C1ED6260F534}" destId="{663B6DBE-8025-434B-A222-4BE2DB2561C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06D42E-7CB0-4437-9169-00149069D944}" type="doc">
      <dgm:prSet loTypeId="urn:microsoft.com/office/officeart/2005/8/layout/vList4" loCatId="list" qsTypeId="urn:microsoft.com/office/officeart/2005/8/quickstyle/simple1" qsCatId="simple" csTypeId="urn:microsoft.com/office/officeart/2005/8/colors/colorful2" csCatId="colorful" phldr="1"/>
      <dgm:spPr/>
      <dgm:t>
        <a:bodyPr/>
        <a:lstStyle/>
        <a:p>
          <a:endParaRPr lang="en-US"/>
        </a:p>
      </dgm:t>
    </dgm:pt>
    <dgm:pt modelId="{73759E81-84F5-4863-B5CE-122DE4AD1F9C}">
      <dgm:prSet phldrT="[Text]" custT="1"/>
      <dgm:spPr/>
      <dgm:t>
        <a:bodyPr/>
        <a:lstStyle/>
        <a:p>
          <a:r>
            <a:rPr lang="en-IN" sz="1800" dirty="0" smtClean="0">
              <a:solidFill>
                <a:schemeClr val="tx1"/>
              </a:solidFill>
            </a:rPr>
            <a:t>IT activities / functions are provided “as a service,” over the Internet.</a:t>
          </a:r>
          <a:endParaRPr lang="en-US" sz="1800" dirty="0" smtClean="0">
            <a:solidFill>
              <a:schemeClr val="tx1"/>
            </a:solidFill>
          </a:endParaRPr>
        </a:p>
        <a:p>
          <a:endParaRPr lang="en-US" sz="1800" dirty="0"/>
        </a:p>
      </dgm:t>
    </dgm:pt>
    <dgm:pt modelId="{24B06258-F59A-4237-B8E5-7AC56D448D58}" type="parTrans" cxnId="{36B7D1F7-6C21-4BA3-8650-BB87C4E6AEB6}">
      <dgm:prSet/>
      <dgm:spPr/>
      <dgm:t>
        <a:bodyPr/>
        <a:lstStyle/>
        <a:p>
          <a:endParaRPr lang="en-US"/>
        </a:p>
      </dgm:t>
    </dgm:pt>
    <dgm:pt modelId="{F9CFBF40-D641-4A15-ABE4-AC664A76DCAD}" type="sibTrans" cxnId="{36B7D1F7-6C21-4BA3-8650-BB87C4E6AEB6}">
      <dgm:prSet/>
      <dgm:spPr/>
      <dgm:t>
        <a:bodyPr/>
        <a:lstStyle/>
        <a:p>
          <a:endParaRPr lang="en-US"/>
        </a:p>
      </dgm:t>
    </dgm:pt>
    <dgm:pt modelId="{99977ADC-BDB0-47A3-9808-6EFFE9AAE960}">
      <dgm:prSet phldrT="[Text]" custT="1"/>
      <dgm:spPr/>
      <dgm:t>
        <a:bodyPr/>
        <a:lstStyle/>
        <a:p>
          <a:r>
            <a:rPr lang="en-IN" sz="1800" dirty="0" smtClean="0">
              <a:solidFill>
                <a:schemeClr val="tx1"/>
              </a:solidFill>
            </a:rPr>
            <a:t>IT capabilities provided “as a service,” over an intranet, within enterprise and behind the firewall.</a:t>
          </a:r>
          <a:endParaRPr lang="en-US" sz="1800" dirty="0" smtClean="0">
            <a:solidFill>
              <a:schemeClr val="tx1"/>
            </a:solidFill>
          </a:endParaRPr>
        </a:p>
        <a:p>
          <a:endParaRPr lang="en-US" sz="1800" dirty="0"/>
        </a:p>
      </dgm:t>
    </dgm:pt>
    <dgm:pt modelId="{ADCAD9A8-4912-40CA-82B9-1DC19FB8AB5A}" type="parTrans" cxnId="{364604A6-F76A-4077-8B2F-52010F951B84}">
      <dgm:prSet/>
      <dgm:spPr/>
      <dgm:t>
        <a:bodyPr/>
        <a:lstStyle/>
        <a:p>
          <a:endParaRPr lang="en-US"/>
        </a:p>
      </dgm:t>
    </dgm:pt>
    <dgm:pt modelId="{E67BB79A-8DC1-4AB1-964E-3C38AEC49AA2}" type="sibTrans" cxnId="{364604A6-F76A-4077-8B2F-52010F951B84}">
      <dgm:prSet/>
      <dgm:spPr/>
      <dgm:t>
        <a:bodyPr/>
        <a:lstStyle/>
        <a:p>
          <a:endParaRPr lang="en-US"/>
        </a:p>
      </dgm:t>
    </dgm:pt>
    <dgm:pt modelId="{C637877B-5E89-4191-9643-B3EEDD35347E}">
      <dgm:prSet phldrT="[Text]" custT="1"/>
      <dgm:spPr/>
      <dgm:t>
        <a:bodyPr/>
        <a:lstStyle/>
        <a:p>
          <a:r>
            <a:rPr lang="en-IN" sz="1800" dirty="0" smtClean="0">
              <a:solidFill>
                <a:schemeClr val="tx1"/>
              </a:solidFill>
            </a:rPr>
            <a:t>Internal and external service delivery methods are integrated.</a:t>
          </a:r>
          <a:endParaRPr lang="en-US" sz="1800" dirty="0" smtClean="0">
            <a:solidFill>
              <a:schemeClr val="tx1"/>
            </a:solidFill>
          </a:endParaRPr>
        </a:p>
        <a:p>
          <a:endParaRPr lang="en-US" sz="1800" dirty="0"/>
        </a:p>
      </dgm:t>
    </dgm:pt>
    <dgm:pt modelId="{AB68547D-37A6-4A13-8BA0-C720EFBA8056}" type="parTrans" cxnId="{0BA9A91E-A0DC-4F9A-8F64-283D5E046795}">
      <dgm:prSet/>
      <dgm:spPr/>
      <dgm:t>
        <a:bodyPr/>
        <a:lstStyle/>
        <a:p>
          <a:endParaRPr lang="en-US"/>
        </a:p>
      </dgm:t>
    </dgm:pt>
    <dgm:pt modelId="{216B511C-40DE-4013-9832-E81A9C70644B}" type="sibTrans" cxnId="{0BA9A91E-A0DC-4F9A-8F64-283D5E046795}">
      <dgm:prSet/>
      <dgm:spPr/>
      <dgm:t>
        <a:bodyPr/>
        <a:lstStyle/>
        <a:p>
          <a:endParaRPr lang="en-US"/>
        </a:p>
      </dgm:t>
    </dgm:pt>
    <dgm:pt modelId="{4E09CADF-93DC-43BB-B4FC-30D8383806E7}">
      <dgm:prSet custT="1"/>
      <dgm:spPr/>
      <dgm:t>
        <a:bodyPr/>
        <a:lstStyle/>
        <a:p>
          <a:r>
            <a:rPr lang="en-IN" sz="1800" dirty="0" smtClean="0">
              <a:solidFill>
                <a:schemeClr val="tx1"/>
              </a:solidFill>
            </a:rPr>
            <a:t>Several organizations with common concerns share a Cloud.</a:t>
          </a:r>
          <a:endParaRPr lang="en-US" sz="1800" dirty="0" smtClean="0">
            <a:solidFill>
              <a:schemeClr val="tx1"/>
            </a:solidFill>
          </a:endParaRPr>
        </a:p>
        <a:p>
          <a:endParaRPr lang="en-US" sz="1800" dirty="0"/>
        </a:p>
      </dgm:t>
    </dgm:pt>
    <dgm:pt modelId="{4EC88AE4-B474-4E74-877E-7C3E85646627}" type="parTrans" cxnId="{C78057E2-D20D-45B3-B419-6150F72C4D1C}">
      <dgm:prSet/>
      <dgm:spPr/>
      <dgm:t>
        <a:bodyPr/>
        <a:lstStyle/>
        <a:p>
          <a:endParaRPr lang="en-US"/>
        </a:p>
      </dgm:t>
    </dgm:pt>
    <dgm:pt modelId="{E67B89B6-80E0-485A-88C7-509AF42A4021}" type="sibTrans" cxnId="{C78057E2-D20D-45B3-B419-6150F72C4D1C}">
      <dgm:prSet/>
      <dgm:spPr/>
      <dgm:t>
        <a:bodyPr/>
        <a:lstStyle/>
        <a:p>
          <a:endParaRPr lang="en-US"/>
        </a:p>
      </dgm:t>
    </dgm:pt>
    <dgm:pt modelId="{45FC049B-ADC1-4B78-A0F2-B6054BD04A57}" type="pres">
      <dgm:prSet presAssocID="{8D06D42E-7CB0-4437-9169-00149069D944}" presName="linear" presStyleCnt="0">
        <dgm:presLayoutVars>
          <dgm:dir/>
          <dgm:resizeHandles val="exact"/>
        </dgm:presLayoutVars>
      </dgm:prSet>
      <dgm:spPr/>
      <dgm:t>
        <a:bodyPr/>
        <a:lstStyle/>
        <a:p>
          <a:endParaRPr lang="en-US"/>
        </a:p>
      </dgm:t>
    </dgm:pt>
    <dgm:pt modelId="{23AD20C9-1431-4F54-8EDC-1AA997AB3395}" type="pres">
      <dgm:prSet presAssocID="{73759E81-84F5-4863-B5CE-122DE4AD1F9C}" presName="comp" presStyleCnt="0"/>
      <dgm:spPr/>
    </dgm:pt>
    <dgm:pt modelId="{E74D64D6-82CA-4A0E-A448-ECB59D4069D1}" type="pres">
      <dgm:prSet presAssocID="{73759E81-84F5-4863-B5CE-122DE4AD1F9C}" presName="box" presStyleLbl="node1" presStyleIdx="0" presStyleCnt="4"/>
      <dgm:spPr/>
      <dgm:t>
        <a:bodyPr/>
        <a:lstStyle/>
        <a:p>
          <a:endParaRPr lang="en-US"/>
        </a:p>
      </dgm:t>
    </dgm:pt>
    <dgm:pt modelId="{D22176F6-2DEF-43CA-8CA6-2D0396DEF0DE}" type="pres">
      <dgm:prSet presAssocID="{73759E81-84F5-4863-B5CE-122DE4AD1F9C}"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0000" r="-10000"/>
          </a:stretch>
        </a:blipFill>
      </dgm:spPr>
    </dgm:pt>
    <dgm:pt modelId="{8A0487F7-8735-474C-A291-7E116077D6AB}" type="pres">
      <dgm:prSet presAssocID="{73759E81-84F5-4863-B5CE-122DE4AD1F9C}" presName="text" presStyleLbl="node1" presStyleIdx="0" presStyleCnt="4">
        <dgm:presLayoutVars>
          <dgm:bulletEnabled val="1"/>
        </dgm:presLayoutVars>
      </dgm:prSet>
      <dgm:spPr/>
      <dgm:t>
        <a:bodyPr/>
        <a:lstStyle/>
        <a:p>
          <a:endParaRPr lang="en-US"/>
        </a:p>
      </dgm:t>
    </dgm:pt>
    <dgm:pt modelId="{C7A087B8-B893-4B27-94E4-4B72EE91B6C9}" type="pres">
      <dgm:prSet presAssocID="{F9CFBF40-D641-4A15-ABE4-AC664A76DCAD}" presName="spacer" presStyleCnt="0"/>
      <dgm:spPr/>
    </dgm:pt>
    <dgm:pt modelId="{E7B00FB1-4E8D-4CE7-8EA0-54CBD7A54CA4}" type="pres">
      <dgm:prSet presAssocID="{99977ADC-BDB0-47A3-9808-6EFFE9AAE960}" presName="comp" presStyleCnt="0"/>
      <dgm:spPr/>
    </dgm:pt>
    <dgm:pt modelId="{5E663C89-5EA3-41D5-8A88-CEEBF5F8A986}" type="pres">
      <dgm:prSet presAssocID="{99977ADC-BDB0-47A3-9808-6EFFE9AAE960}" presName="box" presStyleLbl="node1" presStyleIdx="1" presStyleCnt="4"/>
      <dgm:spPr/>
      <dgm:t>
        <a:bodyPr/>
        <a:lstStyle/>
        <a:p>
          <a:endParaRPr lang="en-US"/>
        </a:p>
      </dgm:t>
    </dgm:pt>
    <dgm:pt modelId="{55C171A2-2C02-4BD4-A6E3-2949ECE38C98}" type="pres">
      <dgm:prSet presAssocID="{99977ADC-BDB0-47A3-9808-6EFFE9AAE960}" presName="img"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dgm:spPr>
    </dgm:pt>
    <dgm:pt modelId="{91072C66-17BD-4EB4-A465-ECE0E88DFB21}" type="pres">
      <dgm:prSet presAssocID="{99977ADC-BDB0-47A3-9808-6EFFE9AAE960}" presName="text" presStyleLbl="node1" presStyleIdx="1" presStyleCnt="4">
        <dgm:presLayoutVars>
          <dgm:bulletEnabled val="1"/>
        </dgm:presLayoutVars>
      </dgm:prSet>
      <dgm:spPr/>
      <dgm:t>
        <a:bodyPr/>
        <a:lstStyle/>
        <a:p>
          <a:endParaRPr lang="en-US"/>
        </a:p>
      </dgm:t>
    </dgm:pt>
    <dgm:pt modelId="{BBBBC3DD-78C3-464F-AA97-270C8605381A}" type="pres">
      <dgm:prSet presAssocID="{E67BB79A-8DC1-4AB1-964E-3C38AEC49AA2}" presName="spacer" presStyleCnt="0"/>
      <dgm:spPr/>
    </dgm:pt>
    <dgm:pt modelId="{9F0E31E8-39D5-40DE-B418-E3CB4DB4BEAE}" type="pres">
      <dgm:prSet presAssocID="{C637877B-5E89-4191-9643-B3EEDD35347E}" presName="comp" presStyleCnt="0"/>
      <dgm:spPr/>
    </dgm:pt>
    <dgm:pt modelId="{30ADBF6E-9549-4AB8-AA70-77CCBE93A014}" type="pres">
      <dgm:prSet presAssocID="{C637877B-5E89-4191-9643-B3EEDD35347E}" presName="box" presStyleLbl="node1" presStyleIdx="2" presStyleCnt="4"/>
      <dgm:spPr/>
      <dgm:t>
        <a:bodyPr/>
        <a:lstStyle/>
        <a:p>
          <a:endParaRPr lang="en-US"/>
        </a:p>
      </dgm:t>
    </dgm:pt>
    <dgm:pt modelId="{B75341E4-583A-48D9-9C7A-4BC8DD0EA709}" type="pres">
      <dgm:prSet presAssocID="{C637877B-5E89-4191-9643-B3EEDD35347E}"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dgm:spPr>
    </dgm:pt>
    <dgm:pt modelId="{A0F459C4-BDF0-43D6-BAA8-3F98C55D463D}" type="pres">
      <dgm:prSet presAssocID="{C637877B-5E89-4191-9643-B3EEDD35347E}" presName="text" presStyleLbl="node1" presStyleIdx="2" presStyleCnt="4">
        <dgm:presLayoutVars>
          <dgm:bulletEnabled val="1"/>
        </dgm:presLayoutVars>
      </dgm:prSet>
      <dgm:spPr/>
      <dgm:t>
        <a:bodyPr/>
        <a:lstStyle/>
        <a:p>
          <a:endParaRPr lang="en-US"/>
        </a:p>
      </dgm:t>
    </dgm:pt>
    <dgm:pt modelId="{5537E685-984F-4532-89A6-3A1A92A28F7E}" type="pres">
      <dgm:prSet presAssocID="{216B511C-40DE-4013-9832-E81A9C70644B}" presName="spacer" presStyleCnt="0"/>
      <dgm:spPr/>
    </dgm:pt>
    <dgm:pt modelId="{38F81C5D-2F07-4E41-9800-8587EE900D47}" type="pres">
      <dgm:prSet presAssocID="{4E09CADF-93DC-43BB-B4FC-30D8383806E7}" presName="comp" presStyleCnt="0"/>
      <dgm:spPr/>
    </dgm:pt>
    <dgm:pt modelId="{D3E6275C-F13A-484E-A2BC-8D1B8EFD440D}" type="pres">
      <dgm:prSet presAssocID="{4E09CADF-93DC-43BB-B4FC-30D8383806E7}" presName="box" presStyleLbl="node1" presStyleIdx="3" presStyleCnt="4"/>
      <dgm:spPr/>
      <dgm:t>
        <a:bodyPr/>
        <a:lstStyle/>
        <a:p>
          <a:endParaRPr lang="en-US"/>
        </a:p>
      </dgm:t>
    </dgm:pt>
    <dgm:pt modelId="{A8063EC0-F390-4798-9462-0FA5EB00E9C1}" type="pres">
      <dgm:prSet presAssocID="{4E09CADF-93DC-43BB-B4FC-30D8383806E7}" presName="img" presStyleLbl="fgImgPlace1" presStyleIdx="3" presStyleCnt="4"/>
      <dgm:spPr>
        <a:blipFill rotWithShape="1">
          <a:blip xmlns:r="http://schemas.openxmlformats.org/officeDocument/2006/relationships" r:embed="rId4"/>
          <a:stretch>
            <a:fillRect/>
          </a:stretch>
        </a:blipFill>
      </dgm:spPr>
    </dgm:pt>
    <dgm:pt modelId="{67473C13-82F2-4AD5-B8D7-27FB1F6CF2CF}" type="pres">
      <dgm:prSet presAssocID="{4E09CADF-93DC-43BB-B4FC-30D8383806E7}" presName="text" presStyleLbl="node1" presStyleIdx="3" presStyleCnt="4">
        <dgm:presLayoutVars>
          <dgm:bulletEnabled val="1"/>
        </dgm:presLayoutVars>
      </dgm:prSet>
      <dgm:spPr/>
      <dgm:t>
        <a:bodyPr/>
        <a:lstStyle/>
        <a:p>
          <a:endParaRPr lang="en-US"/>
        </a:p>
      </dgm:t>
    </dgm:pt>
  </dgm:ptLst>
  <dgm:cxnLst>
    <dgm:cxn modelId="{36B7D1F7-6C21-4BA3-8650-BB87C4E6AEB6}" srcId="{8D06D42E-7CB0-4437-9169-00149069D944}" destId="{73759E81-84F5-4863-B5CE-122DE4AD1F9C}" srcOrd="0" destOrd="0" parTransId="{24B06258-F59A-4237-B8E5-7AC56D448D58}" sibTransId="{F9CFBF40-D641-4A15-ABE4-AC664A76DCAD}"/>
    <dgm:cxn modelId="{C78057E2-D20D-45B3-B419-6150F72C4D1C}" srcId="{8D06D42E-7CB0-4437-9169-00149069D944}" destId="{4E09CADF-93DC-43BB-B4FC-30D8383806E7}" srcOrd="3" destOrd="0" parTransId="{4EC88AE4-B474-4E74-877E-7C3E85646627}" sibTransId="{E67B89B6-80E0-485A-88C7-509AF42A4021}"/>
    <dgm:cxn modelId="{5E247BAA-3D64-4660-AECD-5F5128000171}" type="presOf" srcId="{73759E81-84F5-4863-B5CE-122DE4AD1F9C}" destId="{E74D64D6-82CA-4A0E-A448-ECB59D4069D1}" srcOrd="0" destOrd="0" presId="urn:microsoft.com/office/officeart/2005/8/layout/vList4"/>
    <dgm:cxn modelId="{364604A6-F76A-4077-8B2F-52010F951B84}" srcId="{8D06D42E-7CB0-4437-9169-00149069D944}" destId="{99977ADC-BDB0-47A3-9808-6EFFE9AAE960}" srcOrd="1" destOrd="0" parTransId="{ADCAD9A8-4912-40CA-82B9-1DC19FB8AB5A}" sibTransId="{E67BB79A-8DC1-4AB1-964E-3C38AEC49AA2}"/>
    <dgm:cxn modelId="{677B2FDE-92DE-484F-B417-EC884CFC9249}" type="presOf" srcId="{73759E81-84F5-4863-B5CE-122DE4AD1F9C}" destId="{8A0487F7-8735-474C-A291-7E116077D6AB}" srcOrd="1" destOrd="0" presId="urn:microsoft.com/office/officeart/2005/8/layout/vList4"/>
    <dgm:cxn modelId="{053481E8-42AD-42EF-82B6-ABE60D550B4D}" type="presOf" srcId="{C637877B-5E89-4191-9643-B3EEDD35347E}" destId="{30ADBF6E-9549-4AB8-AA70-77CCBE93A014}" srcOrd="0" destOrd="0" presId="urn:microsoft.com/office/officeart/2005/8/layout/vList4"/>
    <dgm:cxn modelId="{BED61199-8EA2-4C9F-AC5A-8BE5476A3F03}" type="presOf" srcId="{99977ADC-BDB0-47A3-9808-6EFFE9AAE960}" destId="{5E663C89-5EA3-41D5-8A88-CEEBF5F8A986}" srcOrd="0" destOrd="0" presId="urn:microsoft.com/office/officeart/2005/8/layout/vList4"/>
    <dgm:cxn modelId="{E987F1E6-E5E4-4C6D-B657-F075FF8605F2}" type="presOf" srcId="{8D06D42E-7CB0-4437-9169-00149069D944}" destId="{45FC049B-ADC1-4B78-A0F2-B6054BD04A57}" srcOrd="0" destOrd="0" presId="urn:microsoft.com/office/officeart/2005/8/layout/vList4"/>
    <dgm:cxn modelId="{9FD83B46-6881-4055-AE3C-28463C2AB3CD}" type="presOf" srcId="{4E09CADF-93DC-43BB-B4FC-30D8383806E7}" destId="{67473C13-82F2-4AD5-B8D7-27FB1F6CF2CF}" srcOrd="1" destOrd="0" presId="urn:microsoft.com/office/officeart/2005/8/layout/vList4"/>
    <dgm:cxn modelId="{BD50624C-A65A-42E6-92FA-F757FF12A8BB}" type="presOf" srcId="{99977ADC-BDB0-47A3-9808-6EFFE9AAE960}" destId="{91072C66-17BD-4EB4-A465-ECE0E88DFB21}" srcOrd="1" destOrd="0" presId="urn:microsoft.com/office/officeart/2005/8/layout/vList4"/>
    <dgm:cxn modelId="{0BA9A91E-A0DC-4F9A-8F64-283D5E046795}" srcId="{8D06D42E-7CB0-4437-9169-00149069D944}" destId="{C637877B-5E89-4191-9643-B3EEDD35347E}" srcOrd="2" destOrd="0" parTransId="{AB68547D-37A6-4A13-8BA0-C720EFBA8056}" sibTransId="{216B511C-40DE-4013-9832-E81A9C70644B}"/>
    <dgm:cxn modelId="{F6C3F857-6AF4-4819-8DF5-9DECA040B72A}" type="presOf" srcId="{C637877B-5E89-4191-9643-B3EEDD35347E}" destId="{A0F459C4-BDF0-43D6-BAA8-3F98C55D463D}" srcOrd="1" destOrd="0" presId="urn:microsoft.com/office/officeart/2005/8/layout/vList4"/>
    <dgm:cxn modelId="{947A76F0-8194-4BE9-AABF-C634A89E15DD}" type="presOf" srcId="{4E09CADF-93DC-43BB-B4FC-30D8383806E7}" destId="{D3E6275C-F13A-484E-A2BC-8D1B8EFD440D}" srcOrd="0" destOrd="0" presId="urn:microsoft.com/office/officeart/2005/8/layout/vList4"/>
    <dgm:cxn modelId="{F3B7428F-7AA0-4072-9E85-35F012812D21}" type="presParOf" srcId="{45FC049B-ADC1-4B78-A0F2-B6054BD04A57}" destId="{23AD20C9-1431-4F54-8EDC-1AA997AB3395}" srcOrd="0" destOrd="0" presId="urn:microsoft.com/office/officeart/2005/8/layout/vList4"/>
    <dgm:cxn modelId="{B48B25DA-BB73-4262-A967-A0C56F059E30}" type="presParOf" srcId="{23AD20C9-1431-4F54-8EDC-1AA997AB3395}" destId="{E74D64D6-82CA-4A0E-A448-ECB59D4069D1}" srcOrd="0" destOrd="0" presId="urn:microsoft.com/office/officeart/2005/8/layout/vList4"/>
    <dgm:cxn modelId="{CF14AE0C-4D00-4560-85C1-37019C9450AE}" type="presParOf" srcId="{23AD20C9-1431-4F54-8EDC-1AA997AB3395}" destId="{D22176F6-2DEF-43CA-8CA6-2D0396DEF0DE}" srcOrd="1" destOrd="0" presId="urn:microsoft.com/office/officeart/2005/8/layout/vList4"/>
    <dgm:cxn modelId="{C6AFF4CC-B66D-420B-8FBC-D9D97461860E}" type="presParOf" srcId="{23AD20C9-1431-4F54-8EDC-1AA997AB3395}" destId="{8A0487F7-8735-474C-A291-7E116077D6AB}" srcOrd="2" destOrd="0" presId="urn:microsoft.com/office/officeart/2005/8/layout/vList4"/>
    <dgm:cxn modelId="{AEF70C9B-3C19-423D-A38C-5ED5E9FD2A83}" type="presParOf" srcId="{45FC049B-ADC1-4B78-A0F2-B6054BD04A57}" destId="{C7A087B8-B893-4B27-94E4-4B72EE91B6C9}" srcOrd="1" destOrd="0" presId="urn:microsoft.com/office/officeart/2005/8/layout/vList4"/>
    <dgm:cxn modelId="{AA56BCFC-26FF-49AF-996F-5DBA295B0230}" type="presParOf" srcId="{45FC049B-ADC1-4B78-A0F2-B6054BD04A57}" destId="{E7B00FB1-4E8D-4CE7-8EA0-54CBD7A54CA4}" srcOrd="2" destOrd="0" presId="urn:microsoft.com/office/officeart/2005/8/layout/vList4"/>
    <dgm:cxn modelId="{FF821D61-CE7C-4346-80A7-4D4CA04448B9}" type="presParOf" srcId="{E7B00FB1-4E8D-4CE7-8EA0-54CBD7A54CA4}" destId="{5E663C89-5EA3-41D5-8A88-CEEBF5F8A986}" srcOrd="0" destOrd="0" presId="urn:microsoft.com/office/officeart/2005/8/layout/vList4"/>
    <dgm:cxn modelId="{94A4A1B5-9510-44F5-A281-4C4F370B4D64}" type="presParOf" srcId="{E7B00FB1-4E8D-4CE7-8EA0-54CBD7A54CA4}" destId="{55C171A2-2C02-4BD4-A6E3-2949ECE38C98}" srcOrd="1" destOrd="0" presId="urn:microsoft.com/office/officeart/2005/8/layout/vList4"/>
    <dgm:cxn modelId="{9B9CF36B-E4C3-4A8E-B31B-9D72BA6E0518}" type="presParOf" srcId="{E7B00FB1-4E8D-4CE7-8EA0-54CBD7A54CA4}" destId="{91072C66-17BD-4EB4-A465-ECE0E88DFB21}" srcOrd="2" destOrd="0" presId="urn:microsoft.com/office/officeart/2005/8/layout/vList4"/>
    <dgm:cxn modelId="{5481BACC-4168-4982-958F-2F94E4CA764D}" type="presParOf" srcId="{45FC049B-ADC1-4B78-A0F2-B6054BD04A57}" destId="{BBBBC3DD-78C3-464F-AA97-270C8605381A}" srcOrd="3" destOrd="0" presId="urn:microsoft.com/office/officeart/2005/8/layout/vList4"/>
    <dgm:cxn modelId="{338E49EC-017F-4CB5-8512-B506294EE8C6}" type="presParOf" srcId="{45FC049B-ADC1-4B78-A0F2-B6054BD04A57}" destId="{9F0E31E8-39D5-40DE-B418-E3CB4DB4BEAE}" srcOrd="4" destOrd="0" presId="urn:microsoft.com/office/officeart/2005/8/layout/vList4"/>
    <dgm:cxn modelId="{1B38094F-EC87-4E44-910D-6F1CB1B323B0}" type="presParOf" srcId="{9F0E31E8-39D5-40DE-B418-E3CB4DB4BEAE}" destId="{30ADBF6E-9549-4AB8-AA70-77CCBE93A014}" srcOrd="0" destOrd="0" presId="urn:microsoft.com/office/officeart/2005/8/layout/vList4"/>
    <dgm:cxn modelId="{00206D4D-72C5-4E16-AD64-7EF0B84B5756}" type="presParOf" srcId="{9F0E31E8-39D5-40DE-B418-E3CB4DB4BEAE}" destId="{B75341E4-583A-48D9-9C7A-4BC8DD0EA709}" srcOrd="1" destOrd="0" presId="urn:microsoft.com/office/officeart/2005/8/layout/vList4"/>
    <dgm:cxn modelId="{577F9E76-0DFD-4B66-8AB3-612A7614DED6}" type="presParOf" srcId="{9F0E31E8-39D5-40DE-B418-E3CB4DB4BEAE}" destId="{A0F459C4-BDF0-43D6-BAA8-3F98C55D463D}" srcOrd="2" destOrd="0" presId="urn:microsoft.com/office/officeart/2005/8/layout/vList4"/>
    <dgm:cxn modelId="{3D4BD30D-8BDF-4172-ADD3-767348E3D260}" type="presParOf" srcId="{45FC049B-ADC1-4B78-A0F2-B6054BD04A57}" destId="{5537E685-984F-4532-89A6-3A1A92A28F7E}" srcOrd="5" destOrd="0" presId="urn:microsoft.com/office/officeart/2005/8/layout/vList4"/>
    <dgm:cxn modelId="{1564AC06-49A6-432C-82A4-71D664356E86}" type="presParOf" srcId="{45FC049B-ADC1-4B78-A0F2-B6054BD04A57}" destId="{38F81C5D-2F07-4E41-9800-8587EE900D47}" srcOrd="6" destOrd="0" presId="urn:microsoft.com/office/officeart/2005/8/layout/vList4"/>
    <dgm:cxn modelId="{BFB3805E-A621-4916-A05B-0E93511F9C86}" type="presParOf" srcId="{38F81C5D-2F07-4E41-9800-8587EE900D47}" destId="{D3E6275C-F13A-484E-A2BC-8D1B8EFD440D}" srcOrd="0" destOrd="0" presId="urn:microsoft.com/office/officeart/2005/8/layout/vList4"/>
    <dgm:cxn modelId="{5D157052-609A-4B45-9688-C4672FAC7B07}" type="presParOf" srcId="{38F81C5D-2F07-4E41-9800-8587EE900D47}" destId="{A8063EC0-F390-4798-9462-0FA5EB00E9C1}" srcOrd="1" destOrd="0" presId="urn:microsoft.com/office/officeart/2005/8/layout/vList4"/>
    <dgm:cxn modelId="{75597799-754E-42D6-83D0-D1520D9F9055}" type="presParOf" srcId="{38F81C5D-2F07-4E41-9800-8587EE900D47}" destId="{67473C13-82F2-4AD5-B8D7-27FB1F6CF2C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6A7F36-A35F-449A-A009-BFD278A8B7D3}" type="doc">
      <dgm:prSet loTypeId="urn:microsoft.com/office/officeart/2005/8/layout/list1" loCatId="list" qsTypeId="urn:microsoft.com/office/officeart/2005/8/quickstyle/simple3" qsCatId="simple" csTypeId="urn:microsoft.com/office/officeart/2005/8/colors/accent3_2" csCatId="accent3" phldr="1"/>
      <dgm:spPr/>
      <dgm:t>
        <a:bodyPr/>
        <a:lstStyle/>
        <a:p>
          <a:endParaRPr lang="en-US"/>
        </a:p>
      </dgm:t>
    </dgm:pt>
    <dgm:pt modelId="{13F5D049-9A2F-4592-AD6E-7A73C85B0F45}">
      <dgm:prSet phldrT="[Text]" custT="1"/>
      <dgm:spPr/>
      <dgm:t>
        <a:bodyPr/>
        <a:lstStyle/>
        <a:p>
          <a:r>
            <a:rPr lang="en-IN" sz="1600" dirty="0" smtClean="0"/>
            <a:t>Physical security</a:t>
          </a:r>
          <a:endParaRPr lang="en-US" sz="1600" dirty="0"/>
        </a:p>
      </dgm:t>
    </dgm:pt>
    <dgm:pt modelId="{FB99C4F3-2F99-4CC8-AAE7-A7D045C61D27}" type="parTrans" cxnId="{E7539664-88D0-4D36-A42A-E0F83FA0FD63}">
      <dgm:prSet/>
      <dgm:spPr/>
      <dgm:t>
        <a:bodyPr/>
        <a:lstStyle/>
        <a:p>
          <a:endParaRPr lang="en-US" sz="1600"/>
        </a:p>
      </dgm:t>
    </dgm:pt>
    <dgm:pt modelId="{9583857F-F5E3-4829-B2BD-DF932ECDA613}" type="sibTrans" cxnId="{E7539664-88D0-4D36-A42A-E0F83FA0FD63}">
      <dgm:prSet/>
      <dgm:spPr/>
      <dgm:t>
        <a:bodyPr/>
        <a:lstStyle/>
        <a:p>
          <a:endParaRPr lang="en-US" sz="1600"/>
        </a:p>
      </dgm:t>
    </dgm:pt>
    <dgm:pt modelId="{F6EE27EF-4CCF-4961-A262-99EFA83D697A}">
      <dgm:prSet phldrT="[Text]" custT="1"/>
      <dgm:spPr/>
      <dgm:t>
        <a:bodyPr/>
        <a:lstStyle/>
        <a:p>
          <a:r>
            <a:rPr lang="en-US" sz="1600" dirty="0" smtClean="0"/>
            <a:t>Physical infrastructure </a:t>
          </a:r>
        </a:p>
      </dgm:t>
    </dgm:pt>
    <dgm:pt modelId="{D997D69D-AD43-4A96-974F-553E0B559154}" type="parTrans" cxnId="{9DC49D12-ABD1-452F-A2B2-1C257F9280CF}">
      <dgm:prSet/>
      <dgm:spPr/>
      <dgm:t>
        <a:bodyPr/>
        <a:lstStyle/>
        <a:p>
          <a:endParaRPr lang="en-US" sz="1600"/>
        </a:p>
      </dgm:t>
    </dgm:pt>
    <dgm:pt modelId="{816E43F6-DCA7-4DCD-9E4F-27F02108AE2E}" type="sibTrans" cxnId="{9DC49D12-ABD1-452F-A2B2-1C257F9280CF}">
      <dgm:prSet/>
      <dgm:spPr/>
      <dgm:t>
        <a:bodyPr/>
        <a:lstStyle/>
        <a:p>
          <a:endParaRPr lang="en-US" sz="1600"/>
        </a:p>
      </dgm:t>
    </dgm:pt>
    <dgm:pt modelId="{A5BCAEE1-4E1E-40D5-B10F-826ADC5E7204}">
      <dgm:prSet phldrT="[Text]" custT="1"/>
      <dgm:spPr/>
      <dgm:t>
        <a:bodyPr/>
        <a:lstStyle/>
        <a:p>
          <a:r>
            <a:rPr lang="en-IN" sz="1600" dirty="0" smtClean="0"/>
            <a:t>Network infrastructure </a:t>
          </a:r>
          <a:endParaRPr lang="en-US" sz="1600" dirty="0"/>
        </a:p>
      </dgm:t>
    </dgm:pt>
    <dgm:pt modelId="{E4F35E7F-FBE2-43E9-AB42-838E0C69D733}" type="parTrans" cxnId="{775C33FA-E2C6-49B4-8415-744649EB4A26}">
      <dgm:prSet/>
      <dgm:spPr/>
      <dgm:t>
        <a:bodyPr/>
        <a:lstStyle/>
        <a:p>
          <a:endParaRPr lang="en-US" sz="1600"/>
        </a:p>
      </dgm:t>
    </dgm:pt>
    <dgm:pt modelId="{E03B5B50-9EE3-4EEA-AA54-36667A802F02}" type="sibTrans" cxnId="{775C33FA-E2C6-49B4-8415-744649EB4A26}">
      <dgm:prSet/>
      <dgm:spPr/>
      <dgm:t>
        <a:bodyPr/>
        <a:lstStyle/>
        <a:p>
          <a:endParaRPr lang="en-US" sz="1600"/>
        </a:p>
      </dgm:t>
    </dgm:pt>
    <dgm:pt modelId="{4800743B-444F-4A95-AA73-4BAFCC69A4E7}">
      <dgm:prSet custT="1"/>
      <dgm:spPr/>
      <dgm:t>
        <a:bodyPr/>
        <a:lstStyle/>
        <a:p>
          <a:r>
            <a:rPr lang="en-IN" sz="1600" dirty="0" smtClean="0"/>
            <a:t>Virtualization infrastructure </a:t>
          </a:r>
          <a:endParaRPr lang="en-US" sz="1600" dirty="0"/>
        </a:p>
      </dgm:t>
    </dgm:pt>
    <dgm:pt modelId="{E6E56DEF-95DA-4A7C-ACB6-E4E7727243A0}" type="parTrans" cxnId="{BC1FC71D-D237-4095-8E7F-BF4A2DC01A52}">
      <dgm:prSet/>
      <dgm:spPr/>
      <dgm:t>
        <a:bodyPr/>
        <a:lstStyle/>
        <a:p>
          <a:endParaRPr lang="en-US" sz="1600"/>
        </a:p>
      </dgm:t>
    </dgm:pt>
    <dgm:pt modelId="{A5A33E93-217C-4058-8BF7-922525444132}" type="sibTrans" cxnId="{BC1FC71D-D237-4095-8E7F-BF4A2DC01A52}">
      <dgm:prSet/>
      <dgm:spPr/>
      <dgm:t>
        <a:bodyPr/>
        <a:lstStyle/>
        <a:p>
          <a:endParaRPr lang="en-US" sz="1600"/>
        </a:p>
      </dgm:t>
    </dgm:pt>
    <dgm:pt modelId="{A54D1CC0-C148-4D6F-9050-31D3B774E9E8}">
      <dgm:prSet custT="1"/>
      <dgm:spPr/>
      <dgm:t>
        <a:bodyPr/>
        <a:lstStyle/>
        <a:p>
          <a:r>
            <a:rPr lang="en-IN" sz="1400" dirty="0" smtClean="0"/>
            <a:t>Third-Party attestations, reports, and certifications for the above </a:t>
          </a:r>
          <a:endParaRPr lang="en-US" sz="1400" dirty="0"/>
        </a:p>
      </dgm:t>
    </dgm:pt>
    <dgm:pt modelId="{7312A2C8-695B-48BF-A392-0249D6011785}" type="parTrans" cxnId="{3C06E4D6-561B-46E6-A4B8-CD053F9D7F2D}">
      <dgm:prSet/>
      <dgm:spPr/>
      <dgm:t>
        <a:bodyPr/>
        <a:lstStyle/>
        <a:p>
          <a:endParaRPr lang="en-US" sz="1600"/>
        </a:p>
      </dgm:t>
    </dgm:pt>
    <dgm:pt modelId="{D649EFCF-9DF7-4816-9108-573DACA929F6}" type="sibTrans" cxnId="{3C06E4D6-561B-46E6-A4B8-CD053F9D7F2D}">
      <dgm:prSet/>
      <dgm:spPr/>
      <dgm:t>
        <a:bodyPr/>
        <a:lstStyle/>
        <a:p>
          <a:endParaRPr lang="en-US" sz="1600"/>
        </a:p>
      </dgm:t>
    </dgm:pt>
    <dgm:pt modelId="{65955D1F-1C56-49CA-A1E9-913D6071B215}" type="pres">
      <dgm:prSet presAssocID="{6A6A7F36-A35F-449A-A009-BFD278A8B7D3}" presName="linear" presStyleCnt="0">
        <dgm:presLayoutVars>
          <dgm:dir/>
          <dgm:animLvl val="lvl"/>
          <dgm:resizeHandles val="exact"/>
        </dgm:presLayoutVars>
      </dgm:prSet>
      <dgm:spPr/>
      <dgm:t>
        <a:bodyPr/>
        <a:lstStyle/>
        <a:p>
          <a:endParaRPr lang="en-US"/>
        </a:p>
      </dgm:t>
    </dgm:pt>
    <dgm:pt modelId="{DED8DCD6-FF47-48D2-944A-DC14DC055F77}" type="pres">
      <dgm:prSet presAssocID="{13F5D049-9A2F-4592-AD6E-7A73C85B0F45}" presName="parentLin" presStyleCnt="0"/>
      <dgm:spPr/>
    </dgm:pt>
    <dgm:pt modelId="{FF8DF69B-28D1-45F2-BA30-6739110D1C08}" type="pres">
      <dgm:prSet presAssocID="{13F5D049-9A2F-4592-AD6E-7A73C85B0F45}" presName="parentLeftMargin" presStyleLbl="node1" presStyleIdx="0" presStyleCnt="5"/>
      <dgm:spPr/>
      <dgm:t>
        <a:bodyPr/>
        <a:lstStyle/>
        <a:p>
          <a:endParaRPr lang="en-US"/>
        </a:p>
      </dgm:t>
    </dgm:pt>
    <dgm:pt modelId="{17C1305D-C22D-44E4-88B0-E3578A0036CB}" type="pres">
      <dgm:prSet presAssocID="{13F5D049-9A2F-4592-AD6E-7A73C85B0F45}" presName="parentText" presStyleLbl="node1" presStyleIdx="0" presStyleCnt="5">
        <dgm:presLayoutVars>
          <dgm:chMax val="0"/>
          <dgm:bulletEnabled val="1"/>
        </dgm:presLayoutVars>
      </dgm:prSet>
      <dgm:spPr/>
      <dgm:t>
        <a:bodyPr/>
        <a:lstStyle/>
        <a:p>
          <a:endParaRPr lang="en-US"/>
        </a:p>
      </dgm:t>
    </dgm:pt>
    <dgm:pt modelId="{35629D76-91F2-4EA5-91CF-5DA35E2B21EF}" type="pres">
      <dgm:prSet presAssocID="{13F5D049-9A2F-4592-AD6E-7A73C85B0F45}" presName="negativeSpace" presStyleCnt="0"/>
      <dgm:spPr/>
    </dgm:pt>
    <dgm:pt modelId="{1A904356-293A-4F18-9DC5-D18B5A8D5D58}" type="pres">
      <dgm:prSet presAssocID="{13F5D049-9A2F-4592-AD6E-7A73C85B0F45}" presName="childText" presStyleLbl="conFgAcc1" presStyleIdx="0" presStyleCnt="5">
        <dgm:presLayoutVars>
          <dgm:bulletEnabled val="1"/>
        </dgm:presLayoutVars>
      </dgm:prSet>
      <dgm:spPr/>
    </dgm:pt>
    <dgm:pt modelId="{C21CDD4B-D194-446E-B4A9-B4B581014CAB}" type="pres">
      <dgm:prSet presAssocID="{9583857F-F5E3-4829-B2BD-DF932ECDA613}" presName="spaceBetweenRectangles" presStyleCnt="0"/>
      <dgm:spPr/>
    </dgm:pt>
    <dgm:pt modelId="{4DDC837A-AD06-4EFF-92DB-CCBDA680D00B}" type="pres">
      <dgm:prSet presAssocID="{F6EE27EF-4CCF-4961-A262-99EFA83D697A}" presName="parentLin" presStyleCnt="0"/>
      <dgm:spPr/>
    </dgm:pt>
    <dgm:pt modelId="{E5510106-6B36-4669-95D8-DEA4617B9ABE}" type="pres">
      <dgm:prSet presAssocID="{F6EE27EF-4CCF-4961-A262-99EFA83D697A}" presName="parentLeftMargin" presStyleLbl="node1" presStyleIdx="0" presStyleCnt="5"/>
      <dgm:spPr/>
      <dgm:t>
        <a:bodyPr/>
        <a:lstStyle/>
        <a:p>
          <a:endParaRPr lang="en-US"/>
        </a:p>
      </dgm:t>
    </dgm:pt>
    <dgm:pt modelId="{24A1FDFD-BA9F-4EE8-84D7-5ED2A84F32A5}" type="pres">
      <dgm:prSet presAssocID="{F6EE27EF-4CCF-4961-A262-99EFA83D697A}" presName="parentText" presStyleLbl="node1" presStyleIdx="1" presStyleCnt="5">
        <dgm:presLayoutVars>
          <dgm:chMax val="0"/>
          <dgm:bulletEnabled val="1"/>
        </dgm:presLayoutVars>
      </dgm:prSet>
      <dgm:spPr/>
      <dgm:t>
        <a:bodyPr/>
        <a:lstStyle/>
        <a:p>
          <a:endParaRPr lang="en-US"/>
        </a:p>
      </dgm:t>
    </dgm:pt>
    <dgm:pt modelId="{343A4294-E12C-4CF7-BA62-A492CAE28C6A}" type="pres">
      <dgm:prSet presAssocID="{F6EE27EF-4CCF-4961-A262-99EFA83D697A}" presName="negativeSpace" presStyleCnt="0"/>
      <dgm:spPr/>
    </dgm:pt>
    <dgm:pt modelId="{AB4095F7-A134-477C-B4A3-6AC2B647133E}" type="pres">
      <dgm:prSet presAssocID="{F6EE27EF-4CCF-4961-A262-99EFA83D697A}" presName="childText" presStyleLbl="conFgAcc1" presStyleIdx="1" presStyleCnt="5">
        <dgm:presLayoutVars>
          <dgm:bulletEnabled val="1"/>
        </dgm:presLayoutVars>
      </dgm:prSet>
      <dgm:spPr/>
    </dgm:pt>
    <dgm:pt modelId="{5DF473C9-C7C6-48EB-B218-9E36263CF6D5}" type="pres">
      <dgm:prSet presAssocID="{816E43F6-DCA7-4DCD-9E4F-27F02108AE2E}" presName="spaceBetweenRectangles" presStyleCnt="0"/>
      <dgm:spPr/>
    </dgm:pt>
    <dgm:pt modelId="{ADC502F0-899B-436E-9B3F-4F2D3CBE96D9}" type="pres">
      <dgm:prSet presAssocID="{A5BCAEE1-4E1E-40D5-B10F-826ADC5E7204}" presName="parentLin" presStyleCnt="0"/>
      <dgm:spPr/>
    </dgm:pt>
    <dgm:pt modelId="{EE218AF0-11F9-4CDB-8176-3C88474DBB4D}" type="pres">
      <dgm:prSet presAssocID="{A5BCAEE1-4E1E-40D5-B10F-826ADC5E7204}" presName="parentLeftMargin" presStyleLbl="node1" presStyleIdx="1" presStyleCnt="5"/>
      <dgm:spPr/>
      <dgm:t>
        <a:bodyPr/>
        <a:lstStyle/>
        <a:p>
          <a:endParaRPr lang="en-US"/>
        </a:p>
      </dgm:t>
    </dgm:pt>
    <dgm:pt modelId="{F89EFE27-2D3B-43F2-9E13-74ABA91FF946}" type="pres">
      <dgm:prSet presAssocID="{A5BCAEE1-4E1E-40D5-B10F-826ADC5E7204}" presName="parentText" presStyleLbl="node1" presStyleIdx="2" presStyleCnt="5">
        <dgm:presLayoutVars>
          <dgm:chMax val="0"/>
          <dgm:bulletEnabled val="1"/>
        </dgm:presLayoutVars>
      </dgm:prSet>
      <dgm:spPr/>
      <dgm:t>
        <a:bodyPr/>
        <a:lstStyle/>
        <a:p>
          <a:endParaRPr lang="en-US"/>
        </a:p>
      </dgm:t>
    </dgm:pt>
    <dgm:pt modelId="{31D11CDF-EAAB-4CDA-B9B9-00FCE3F7C848}" type="pres">
      <dgm:prSet presAssocID="{A5BCAEE1-4E1E-40D5-B10F-826ADC5E7204}" presName="negativeSpace" presStyleCnt="0"/>
      <dgm:spPr/>
    </dgm:pt>
    <dgm:pt modelId="{319368C8-AB36-4572-8330-E2DFFE77F980}" type="pres">
      <dgm:prSet presAssocID="{A5BCAEE1-4E1E-40D5-B10F-826ADC5E7204}" presName="childText" presStyleLbl="conFgAcc1" presStyleIdx="2" presStyleCnt="5">
        <dgm:presLayoutVars>
          <dgm:bulletEnabled val="1"/>
        </dgm:presLayoutVars>
      </dgm:prSet>
      <dgm:spPr/>
    </dgm:pt>
    <dgm:pt modelId="{1FF2B574-D0A6-4AAA-8520-6F68B2836919}" type="pres">
      <dgm:prSet presAssocID="{E03B5B50-9EE3-4EEA-AA54-36667A802F02}" presName="spaceBetweenRectangles" presStyleCnt="0"/>
      <dgm:spPr/>
    </dgm:pt>
    <dgm:pt modelId="{552FDD4C-0C96-4FF5-A4D3-B8E529973389}" type="pres">
      <dgm:prSet presAssocID="{4800743B-444F-4A95-AA73-4BAFCC69A4E7}" presName="parentLin" presStyleCnt="0"/>
      <dgm:spPr/>
    </dgm:pt>
    <dgm:pt modelId="{2227C19E-C92F-4F94-97FB-F67D8331F5C6}" type="pres">
      <dgm:prSet presAssocID="{4800743B-444F-4A95-AA73-4BAFCC69A4E7}" presName="parentLeftMargin" presStyleLbl="node1" presStyleIdx="2" presStyleCnt="5"/>
      <dgm:spPr/>
      <dgm:t>
        <a:bodyPr/>
        <a:lstStyle/>
        <a:p>
          <a:endParaRPr lang="en-US"/>
        </a:p>
      </dgm:t>
    </dgm:pt>
    <dgm:pt modelId="{7B21451F-CDF5-4343-8206-B835B855F240}" type="pres">
      <dgm:prSet presAssocID="{4800743B-444F-4A95-AA73-4BAFCC69A4E7}" presName="parentText" presStyleLbl="node1" presStyleIdx="3" presStyleCnt="5">
        <dgm:presLayoutVars>
          <dgm:chMax val="0"/>
          <dgm:bulletEnabled val="1"/>
        </dgm:presLayoutVars>
      </dgm:prSet>
      <dgm:spPr/>
      <dgm:t>
        <a:bodyPr/>
        <a:lstStyle/>
        <a:p>
          <a:endParaRPr lang="en-US"/>
        </a:p>
      </dgm:t>
    </dgm:pt>
    <dgm:pt modelId="{5D2A1ECE-F2AB-42D2-8F16-1857A893C583}" type="pres">
      <dgm:prSet presAssocID="{4800743B-444F-4A95-AA73-4BAFCC69A4E7}" presName="negativeSpace" presStyleCnt="0"/>
      <dgm:spPr/>
    </dgm:pt>
    <dgm:pt modelId="{13D4FE33-6DCD-4D96-B443-350B4A439DB8}" type="pres">
      <dgm:prSet presAssocID="{4800743B-444F-4A95-AA73-4BAFCC69A4E7}" presName="childText" presStyleLbl="conFgAcc1" presStyleIdx="3" presStyleCnt="5">
        <dgm:presLayoutVars>
          <dgm:bulletEnabled val="1"/>
        </dgm:presLayoutVars>
      </dgm:prSet>
      <dgm:spPr/>
    </dgm:pt>
    <dgm:pt modelId="{C627BB6A-F209-4CC6-BD0A-62CD26026331}" type="pres">
      <dgm:prSet presAssocID="{A5A33E93-217C-4058-8BF7-922525444132}" presName="spaceBetweenRectangles" presStyleCnt="0"/>
      <dgm:spPr/>
    </dgm:pt>
    <dgm:pt modelId="{59669010-D95B-4A63-BD2E-F00FFA0E62B3}" type="pres">
      <dgm:prSet presAssocID="{A54D1CC0-C148-4D6F-9050-31D3B774E9E8}" presName="parentLin" presStyleCnt="0"/>
      <dgm:spPr/>
    </dgm:pt>
    <dgm:pt modelId="{2A71D3A6-6105-4211-AF0D-31A781AAF4F2}" type="pres">
      <dgm:prSet presAssocID="{A54D1CC0-C148-4D6F-9050-31D3B774E9E8}" presName="parentLeftMargin" presStyleLbl="node1" presStyleIdx="3" presStyleCnt="5"/>
      <dgm:spPr/>
      <dgm:t>
        <a:bodyPr/>
        <a:lstStyle/>
        <a:p>
          <a:endParaRPr lang="en-US"/>
        </a:p>
      </dgm:t>
    </dgm:pt>
    <dgm:pt modelId="{7244CBFE-B82B-462A-828E-A9BA8E7C654A}" type="pres">
      <dgm:prSet presAssocID="{A54D1CC0-C148-4D6F-9050-31D3B774E9E8}" presName="parentText" presStyleLbl="node1" presStyleIdx="4" presStyleCnt="5">
        <dgm:presLayoutVars>
          <dgm:chMax val="0"/>
          <dgm:bulletEnabled val="1"/>
        </dgm:presLayoutVars>
      </dgm:prSet>
      <dgm:spPr/>
      <dgm:t>
        <a:bodyPr/>
        <a:lstStyle/>
        <a:p>
          <a:endParaRPr lang="en-US"/>
        </a:p>
      </dgm:t>
    </dgm:pt>
    <dgm:pt modelId="{F71B659A-ED56-4967-8178-8DCBA88B4852}" type="pres">
      <dgm:prSet presAssocID="{A54D1CC0-C148-4D6F-9050-31D3B774E9E8}" presName="negativeSpace" presStyleCnt="0"/>
      <dgm:spPr/>
    </dgm:pt>
    <dgm:pt modelId="{C6B56131-449F-437A-9D35-9ECB46D34B62}" type="pres">
      <dgm:prSet presAssocID="{A54D1CC0-C148-4D6F-9050-31D3B774E9E8}" presName="childText" presStyleLbl="conFgAcc1" presStyleIdx="4" presStyleCnt="5">
        <dgm:presLayoutVars>
          <dgm:bulletEnabled val="1"/>
        </dgm:presLayoutVars>
      </dgm:prSet>
      <dgm:spPr/>
    </dgm:pt>
  </dgm:ptLst>
  <dgm:cxnLst>
    <dgm:cxn modelId="{6C04E163-D9E1-4A9B-984C-6520E8638415}" type="presOf" srcId="{A5BCAEE1-4E1E-40D5-B10F-826ADC5E7204}" destId="{EE218AF0-11F9-4CDB-8176-3C88474DBB4D}" srcOrd="0" destOrd="0" presId="urn:microsoft.com/office/officeart/2005/8/layout/list1"/>
    <dgm:cxn modelId="{D6D06823-BAC3-4300-926F-80D9AE76A7B3}" type="presOf" srcId="{6A6A7F36-A35F-449A-A009-BFD278A8B7D3}" destId="{65955D1F-1C56-49CA-A1E9-913D6071B215}" srcOrd="0" destOrd="0" presId="urn:microsoft.com/office/officeart/2005/8/layout/list1"/>
    <dgm:cxn modelId="{139AE905-DEAD-47A6-B100-062F25AC2B61}" type="presOf" srcId="{F6EE27EF-4CCF-4961-A262-99EFA83D697A}" destId="{24A1FDFD-BA9F-4EE8-84D7-5ED2A84F32A5}" srcOrd="1" destOrd="0" presId="urn:microsoft.com/office/officeart/2005/8/layout/list1"/>
    <dgm:cxn modelId="{69D3E80B-5F08-488A-B228-89645FA5A042}" type="presOf" srcId="{13F5D049-9A2F-4592-AD6E-7A73C85B0F45}" destId="{FF8DF69B-28D1-45F2-BA30-6739110D1C08}" srcOrd="0" destOrd="0" presId="urn:microsoft.com/office/officeart/2005/8/layout/list1"/>
    <dgm:cxn modelId="{3C06E4D6-561B-46E6-A4B8-CD053F9D7F2D}" srcId="{6A6A7F36-A35F-449A-A009-BFD278A8B7D3}" destId="{A54D1CC0-C148-4D6F-9050-31D3B774E9E8}" srcOrd="4" destOrd="0" parTransId="{7312A2C8-695B-48BF-A392-0249D6011785}" sibTransId="{D649EFCF-9DF7-4816-9108-573DACA929F6}"/>
    <dgm:cxn modelId="{DEE28809-3B96-4327-A9C3-64EA6CF67366}" type="presOf" srcId="{4800743B-444F-4A95-AA73-4BAFCC69A4E7}" destId="{7B21451F-CDF5-4343-8206-B835B855F240}" srcOrd="1" destOrd="0" presId="urn:microsoft.com/office/officeart/2005/8/layout/list1"/>
    <dgm:cxn modelId="{E7539664-88D0-4D36-A42A-E0F83FA0FD63}" srcId="{6A6A7F36-A35F-449A-A009-BFD278A8B7D3}" destId="{13F5D049-9A2F-4592-AD6E-7A73C85B0F45}" srcOrd="0" destOrd="0" parTransId="{FB99C4F3-2F99-4CC8-AAE7-A7D045C61D27}" sibTransId="{9583857F-F5E3-4829-B2BD-DF932ECDA613}"/>
    <dgm:cxn modelId="{8F4B46DB-A179-48AA-A21F-8C149AB56979}" type="presOf" srcId="{A54D1CC0-C148-4D6F-9050-31D3B774E9E8}" destId="{2A71D3A6-6105-4211-AF0D-31A781AAF4F2}" srcOrd="0" destOrd="0" presId="urn:microsoft.com/office/officeart/2005/8/layout/list1"/>
    <dgm:cxn modelId="{775C33FA-E2C6-49B4-8415-744649EB4A26}" srcId="{6A6A7F36-A35F-449A-A009-BFD278A8B7D3}" destId="{A5BCAEE1-4E1E-40D5-B10F-826ADC5E7204}" srcOrd="2" destOrd="0" parTransId="{E4F35E7F-FBE2-43E9-AB42-838E0C69D733}" sibTransId="{E03B5B50-9EE3-4EEA-AA54-36667A802F02}"/>
    <dgm:cxn modelId="{BC1FC71D-D237-4095-8E7F-BF4A2DC01A52}" srcId="{6A6A7F36-A35F-449A-A009-BFD278A8B7D3}" destId="{4800743B-444F-4A95-AA73-4BAFCC69A4E7}" srcOrd="3" destOrd="0" parTransId="{E6E56DEF-95DA-4A7C-ACB6-E4E7727243A0}" sibTransId="{A5A33E93-217C-4058-8BF7-922525444132}"/>
    <dgm:cxn modelId="{98DEB268-D0E2-4F04-BD9E-AE151AAE1BBA}" type="presOf" srcId="{13F5D049-9A2F-4592-AD6E-7A73C85B0F45}" destId="{17C1305D-C22D-44E4-88B0-E3578A0036CB}" srcOrd="1" destOrd="0" presId="urn:microsoft.com/office/officeart/2005/8/layout/list1"/>
    <dgm:cxn modelId="{E94A42F1-3FB4-4F4E-AC1A-8B0DA4D5B893}" type="presOf" srcId="{4800743B-444F-4A95-AA73-4BAFCC69A4E7}" destId="{2227C19E-C92F-4F94-97FB-F67D8331F5C6}" srcOrd="0" destOrd="0" presId="urn:microsoft.com/office/officeart/2005/8/layout/list1"/>
    <dgm:cxn modelId="{EBE7F198-A76F-4F83-9120-EC715A3A9F4F}" type="presOf" srcId="{A5BCAEE1-4E1E-40D5-B10F-826ADC5E7204}" destId="{F89EFE27-2D3B-43F2-9E13-74ABA91FF946}" srcOrd="1" destOrd="0" presId="urn:microsoft.com/office/officeart/2005/8/layout/list1"/>
    <dgm:cxn modelId="{9DC49D12-ABD1-452F-A2B2-1C257F9280CF}" srcId="{6A6A7F36-A35F-449A-A009-BFD278A8B7D3}" destId="{F6EE27EF-4CCF-4961-A262-99EFA83D697A}" srcOrd="1" destOrd="0" parTransId="{D997D69D-AD43-4A96-974F-553E0B559154}" sibTransId="{816E43F6-DCA7-4DCD-9E4F-27F02108AE2E}"/>
    <dgm:cxn modelId="{787F23EB-FBE7-4A5D-92C7-4EEFBCCA0A6D}" type="presOf" srcId="{A54D1CC0-C148-4D6F-9050-31D3B774E9E8}" destId="{7244CBFE-B82B-462A-828E-A9BA8E7C654A}" srcOrd="1" destOrd="0" presId="urn:microsoft.com/office/officeart/2005/8/layout/list1"/>
    <dgm:cxn modelId="{2D1F85EB-CA92-46C8-8EDB-C46DA9A32F3B}" type="presOf" srcId="{F6EE27EF-4CCF-4961-A262-99EFA83D697A}" destId="{E5510106-6B36-4669-95D8-DEA4617B9ABE}" srcOrd="0" destOrd="0" presId="urn:microsoft.com/office/officeart/2005/8/layout/list1"/>
    <dgm:cxn modelId="{AA16C164-1F40-4786-BEDA-CD1F6A2980F7}" type="presParOf" srcId="{65955D1F-1C56-49CA-A1E9-913D6071B215}" destId="{DED8DCD6-FF47-48D2-944A-DC14DC055F77}" srcOrd="0" destOrd="0" presId="urn:microsoft.com/office/officeart/2005/8/layout/list1"/>
    <dgm:cxn modelId="{2079A741-A9E9-426B-9F1C-AF41F4C0FF1A}" type="presParOf" srcId="{DED8DCD6-FF47-48D2-944A-DC14DC055F77}" destId="{FF8DF69B-28D1-45F2-BA30-6739110D1C08}" srcOrd="0" destOrd="0" presId="urn:microsoft.com/office/officeart/2005/8/layout/list1"/>
    <dgm:cxn modelId="{D8164704-4732-4969-9589-FE79A7F8EB33}" type="presParOf" srcId="{DED8DCD6-FF47-48D2-944A-DC14DC055F77}" destId="{17C1305D-C22D-44E4-88B0-E3578A0036CB}" srcOrd="1" destOrd="0" presId="urn:microsoft.com/office/officeart/2005/8/layout/list1"/>
    <dgm:cxn modelId="{41FD2FED-30BE-4E95-BF8B-3C7ECF6CAEB1}" type="presParOf" srcId="{65955D1F-1C56-49CA-A1E9-913D6071B215}" destId="{35629D76-91F2-4EA5-91CF-5DA35E2B21EF}" srcOrd="1" destOrd="0" presId="urn:microsoft.com/office/officeart/2005/8/layout/list1"/>
    <dgm:cxn modelId="{BEC0079A-FC59-49EE-967D-2C6C9FBA595B}" type="presParOf" srcId="{65955D1F-1C56-49CA-A1E9-913D6071B215}" destId="{1A904356-293A-4F18-9DC5-D18B5A8D5D58}" srcOrd="2" destOrd="0" presId="urn:microsoft.com/office/officeart/2005/8/layout/list1"/>
    <dgm:cxn modelId="{E6D9A6FF-00A3-48C0-9AD4-D21793E63581}" type="presParOf" srcId="{65955D1F-1C56-49CA-A1E9-913D6071B215}" destId="{C21CDD4B-D194-446E-B4A9-B4B581014CAB}" srcOrd="3" destOrd="0" presId="urn:microsoft.com/office/officeart/2005/8/layout/list1"/>
    <dgm:cxn modelId="{8BDBE62E-48D5-4929-B05B-FFBB952BF458}" type="presParOf" srcId="{65955D1F-1C56-49CA-A1E9-913D6071B215}" destId="{4DDC837A-AD06-4EFF-92DB-CCBDA680D00B}" srcOrd="4" destOrd="0" presId="urn:microsoft.com/office/officeart/2005/8/layout/list1"/>
    <dgm:cxn modelId="{C7681D5C-8A90-47F2-866F-36076C159ADD}" type="presParOf" srcId="{4DDC837A-AD06-4EFF-92DB-CCBDA680D00B}" destId="{E5510106-6B36-4669-95D8-DEA4617B9ABE}" srcOrd="0" destOrd="0" presId="urn:microsoft.com/office/officeart/2005/8/layout/list1"/>
    <dgm:cxn modelId="{8ACA41BB-4DF7-405A-95D7-00A204B3D378}" type="presParOf" srcId="{4DDC837A-AD06-4EFF-92DB-CCBDA680D00B}" destId="{24A1FDFD-BA9F-4EE8-84D7-5ED2A84F32A5}" srcOrd="1" destOrd="0" presId="urn:microsoft.com/office/officeart/2005/8/layout/list1"/>
    <dgm:cxn modelId="{D9CF8FDD-4F6B-4F6B-9279-65B710997F49}" type="presParOf" srcId="{65955D1F-1C56-49CA-A1E9-913D6071B215}" destId="{343A4294-E12C-4CF7-BA62-A492CAE28C6A}" srcOrd="5" destOrd="0" presId="urn:microsoft.com/office/officeart/2005/8/layout/list1"/>
    <dgm:cxn modelId="{9150F62F-1FFC-44EC-B361-A6C22672ECCB}" type="presParOf" srcId="{65955D1F-1C56-49CA-A1E9-913D6071B215}" destId="{AB4095F7-A134-477C-B4A3-6AC2B647133E}" srcOrd="6" destOrd="0" presId="urn:microsoft.com/office/officeart/2005/8/layout/list1"/>
    <dgm:cxn modelId="{B9E8FABC-B528-40A3-8849-8B378F4FC86B}" type="presParOf" srcId="{65955D1F-1C56-49CA-A1E9-913D6071B215}" destId="{5DF473C9-C7C6-48EB-B218-9E36263CF6D5}" srcOrd="7" destOrd="0" presId="urn:microsoft.com/office/officeart/2005/8/layout/list1"/>
    <dgm:cxn modelId="{3E0C509B-EAA6-443C-B0AC-F2167312BFBB}" type="presParOf" srcId="{65955D1F-1C56-49CA-A1E9-913D6071B215}" destId="{ADC502F0-899B-436E-9B3F-4F2D3CBE96D9}" srcOrd="8" destOrd="0" presId="urn:microsoft.com/office/officeart/2005/8/layout/list1"/>
    <dgm:cxn modelId="{97C4EA73-B183-4B35-ACE0-552EC9864D1A}" type="presParOf" srcId="{ADC502F0-899B-436E-9B3F-4F2D3CBE96D9}" destId="{EE218AF0-11F9-4CDB-8176-3C88474DBB4D}" srcOrd="0" destOrd="0" presId="urn:microsoft.com/office/officeart/2005/8/layout/list1"/>
    <dgm:cxn modelId="{7F4FD210-3408-4A09-89DC-031095EE3ECB}" type="presParOf" srcId="{ADC502F0-899B-436E-9B3F-4F2D3CBE96D9}" destId="{F89EFE27-2D3B-43F2-9E13-74ABA91FF946}" srcOrd="1" destOrd="0" presId="urn:microsoft.com/office/officeart/2005/8/layout/list1"/>
    <dgm:cxn modelId="{95E90EEA-EC42-4ECA-A9B9-95F8CFDB7A0F}" type="presParOf" srcId="{65955D1F-1C56-49CA-A1E9-913D6071B215}" destId="{31D11CDF-EAAB-4CDA-B9B9-00FCE3F7C848}" srcOrd="9" destOrd="0" presId="urn:microsoft.com/office/officeart/2005/8/layout/list1"/>
    <dgm:cxn modelId="{B581F4DD-579A-43A3-8710-4B145F5A3B43}" type="presParOf" srcId="{65955D1F-1C56-49CA-A1E9-913D6071B215}" destId="{319368C8-AB36-4572-8330-E2DFFE77F980}" srcOrd="10" destOrd="0" presId="urn:microsoft.com/office/officeart/2005/8/layout/list1"/>
    <dgm:cxn modelId="{9A39C9CA-6D6E-4ED9-AFE1-5877FC573ED0}" type="presParOf" srcId="{65955D1F-1C56-49CA-A1E9-913D6071B215}" destId="{1FF2B574-D0A6-4AAA-8520-6F68B2836919}" srcOrd="11" destOrd="0" presId="urn:microsoft.com/office/officeart/2005/8/layout/list1"/>
    <dgm:cxn modelId="{798467DF-4713-4BE7-8299-7E881CC90474}" type="presParOf" srcId="{65955D1F-1C56-49CA-A1E9-913D6071B215}" destId="{552FDD4C-0C96-4FF5-A4D3-B8E529973389}" srcOrd="12" destOrd="0" presId="urn:microsoft.com/office/officeart/2005/8/layout/list1"/>
    <dgm:cxn modelId="{5B72E281-696B-4E09-B5BE-F1A13FDEA1F7}" type="presParOf" srcId="{552FDD4C-0C96-4FF5-A4D3-B8E529973389}" destId="{2227C19E-C92F-4F94-97FB-F67D8331F5C6}" srcOrd="0" destOrd="0" presId="urn:microsoft.com/office/officeart/2005/8/layout/list1"/>
    <dgm:cxn modelId="{8232A722-660E-477F-8624-7EEB6107C949}" type="presParOf" srcId="{552FDD4C-0C96-4FF5-A4D3-B8E529973389}" destId="{7B21451F-CDF5-4343-8206-B835B855F240}" srcOrd="1" destOrd="0" presId="urn:microsoft.com/office/officeart/2005/8/layout/list1"/>
    <dgm:cxn modelId="{3B168A33-404D-4E50-B549-F2F94F6FA324}" type="presParOf" srcId="{65955D1F-1C56-49CA-A1E9-913D6071B215}" destId="{5D2A1ECE-F2AB-42D2-8F16-1857A893C583}" srcOrd="13" destOrd="0" presId="urn:microsoft.com/office/officeart/2005/8/layout/list1"/>
    <dgm:cxn modelId="{E226AFA6-05E5-4999-BA45-2032783D9729}" type="presParOf" srcId="{65955D1F-1C56-49CA-A1E9-913D6071B215}" destId="{13D4FE33-6DCD-4D96-B443-350B4A439DB8}" srcOrd="14" destOrd="0" presId="urn:microsoft.com/office/officeart/2005/8/layout/list1"/>
    <dgm:cxn modelId="{79A6DFE4-B882-427D-82F5-A578F5C9DD8B}" type="presParOf" srcId="{65955D1F-1C56-49CA-A1E9-913D6071B215}" destId="{C627BB6A-F209-4CC6-BD0A-62CD26026331}" srcOrd="15" destOrd="0" presId="urn:microsoft.com/office/officeart/2005/8/layout/list1"/>
    <dgm:cxn modelId="{665CCD24-0CE1-42AB-85E5-419A77A8ABC5}" type="presParOf" srcId="{65955D1F-1C56-49CA-A1E9-913D6071B215}" destId="{59669010-D95B-4A63-BD2E-F00FFA0E62B3}" srcOrd="16" destOrd="0" presId="urn:microsoft.com/office/officeart/2005/8/layout/list1"/>
    <dgm:cxn modelId="{B58E9515-B84C-49C2-8825-A90D53CC75E1}" type="presParOf" srcId="{59669010-D95B-4A63-BD2E-F00FFA0E62B3}" destId="{2A71D3A6-6105-4211-AF0D-31A781AAF4F2}" srcOrd="0" destOrd="0" presId="urn:microsoft.com/office/officeart/2005/8/layout/list1"/>
    <dgm:cxn modelId="{920507C7-C99E-477E-A384-566B468733FE}" type="presParOf" srcId="{59669010-D95B-4A63-BD2E-F00FFA0E62B3}" destId="{7244CBFE-B82B-462A-828E-A9BA8E7C654A}" srcOrd="1" destOrd="0" presId="urn:microsoft.com/office/officeart/2005/8/layout/list1"/>
    <dgm:cxn modelId="{91A33C9B-9E28-4757-A2D5-76AB9B22D1C9}" type="presParOf" srcId="{65955D1F-1C56-49CA-A1E9-913D6071B215}" destId="{F71B659A-ED56-4967-8178-8DCBA88B4852}" srcOrd="17" destOrd="0" presId="urn:microsoft.com/office/officeart/2005/8/layout/list1"/>
    <dgm:cxn modelId="{61261EAA-51C8-47E1-BB97-6F621BEFC3C8}" type="presParOf" srcId="{65955D1F-1C56-49CA-A1E9-913D6071B215}" destId="{C6B56131-449F-437A-9D35-9ECB46D34B62}" srcOrd="18"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DBDFED-6BC8-48F2-B56E-2AED19A6E214}" type="doc">
      <dgm:prSet loTypeId="urn:microsoft.com/office/officeart/2009/3/layout/StepUpProcess" loCatId="process" qsTypeId="urn:microsoft.com/office/officeart/2005/8/quickstyle/3d1" qsCatId="3D" csTypeId="urn:microsoft.com/office/officeart/2005/8/colors/colorful2" csCatId="colorful" phldr="1"/>
      <dgm:spPr/>
      <dgm:t>
        <a:bodyPr/>
        <a:lstStyle/>
        <a:p>
          <a:endParaRPr lang="en-US"/>
        </a:p>
      </dgm:t>
    </dgm:pt>
    <dgm:pt modelId="{3A512C17-67E2-4748-ABF0-D6E98BB25FDC}">
      <dgm:prSet phldrT="[Text]" custT="1"/>
      <dgm:spPr/>
      <dgm:t>
        <a:bodyPr/>
        <a:lstStyle/>
        <a:p>
          <a:r>
            <a:rPr lang="en-US" sz="1400" b="1" smtClean="0">
              <a:latin typeface="Calibri" pitchFamily="34" charset="0"/>
              <a:cs typeface="Calibri" pitchFamily="34" charset="0"/>
            </a:rPr>
            <a:t>Deliver New Feature( of good quality)</a:t>
          </a:r>
          <a:endParaRPr lang="en-US" sz="1400" b="1" dirty="0">
            <a:latin typeface="Calibri" pitchFamily="34" charset="0"/>
            <a:cs typeface="Calibri" pitchFamily="34" charset="0"/>
          </a:endParaRPr>
        </a:p>
      </dgm:t>
    </dgm:pt>
    <dgm:pt modelId="{FE0069BD-3F71-4F58-B7BC-A8EA4502BB24}" type="parTrans" cxnId="{B3D699C8-596C-497D-A025-249FD09AC0D5}">
      <dgm:prSet/>
      <dgm:spPr/>
      <dgm:t>
        <a:bodyPr/>
        <a:lstStyle/>
        <a:p>
          <a:endParaRPr lang="en-US"/>
        </a:p>
      </dgm:t>
    </dgm:pt>
    <dgm:pt modelId="{43E30789-800E-404E-B2AE-5DFF6682622D}" type="sibTrans" cxnId="{B3D699C8-596C-497D-A025-249FD09AC0D5}">
      <dgm:prSet/>
      <dgm:spPr/>
      <dgm:t>
        <a:bodyPr/>
        <a:lstStyle/>
        <a:p>
          <a:endParaRPr lang="en-US"/>
        </a:p>
      </dgm:t>
    </dgm:pt>
    <dgm:pt modelId="{20652AC8-8E23-4FD0-B507-1C7DA4FE46B0}">
      <dgm:prSet phldrT="[Text]" custT="1"/>
      <dgm:spPr/>
      <dgm:t>
        <a:bodyPr/>
        <a:lstStyle/>
        <a:p>
          <a:r>
            <a:rPr lang="en-US" sz="1400" b="1" smtClean="0">
              <a:latin typeface="Calibri" pitchFamily="34" charset="0"/>
              <a:cs typeface="Calibri" pitchFamily="34" charset="0"/>
            </a:rPr>
            <a:t>Product Oriented</a:t>
          </a:r>
          <a:endParaRPr lang="en-US" sz="1400" b="1" dirty="0">
            <a:latin typeface="Calibri" pitchFamily="34" charset="0"/>
            <a:cs typeface="Calibri" pitchFamily="34" charset="0"/>
          </a:endParaRPr>
        </a:p>
      </dgm:t>
    </dgm:pt>
    <dgm:pt modelId="{73980EDF-3BD0-4ABD-B34F-7D54A1DB0BDC}" type="parTrans" cxnId="{6D0DB22F-B9E9-4F18-80CC-224FF42FB600}">
      <dgm:prSet/>
      <dgm:spPr/>
      <dgm:t>
        <a:bodyPr/>
        <a:lstStyle/>
        <a:p>
          <a:endParaRPr lang="en-US"/>
        </a:p>
      </dgm:t>
    </dgm:pt>
    <dgm:pt modelId="{02224EB0-B46E-4511-8459-F973963BBC24}" type="sibTrans" cxnId="{6D0DB22F-B9E9-4F18-80CC-224FF42FB600}">
      <dgm:prSet/>
      <dgm:spPr/>
      <dgm:t>
        <a:bodyPr/>
        <a:lstStyle/>
        <a:p>
          <a:endParaRPr lang="en-US"/>
        </a:p>
      </dgm:t>
    </dgm:pt>
    <dgm:pt modelId="{B232BED3-1C4F-4A51-B699-27FDA6EF99CA}">
      <dgm:prSet phldrT="[Text]" custT="1"/>
      <dgm:spPr/>
      <dgm:t>
        <a:bodyPr/>
        <a:lstStyle/>
        <a:p>
          <a:r>
            <a:rPr lang="en-US" sz="1400" b="1" smtClean="0">
              <a:latin typeface="Calibri" pitchFamily="34" charset="0"/>
              <a:cs typeface="Calibri" pitchFamily="34" charset="0"/>
            </a:rPr>
            <a:t>Try to Innovate</a:t>
          </a:r>
          <a:endParaRPr lang="en-US" sz="1400" b="1" dirty="0">
            <a:latin typeface="Calibri" pitchFamily="34" charset="0"/>
            <a:cs typeface="Calibri" pitchFamily="34" charset="0"/>
          </a:endParaRPr>
        </a:p>
      </dgm:t>
    </dgm:pt>
    <dgm:pt modelId="{DF3F26C2-D659-49FF-AEEB-A9FAEAAB2FED}" type="parTrans" cxnId="{3BAB1C8D-BB31-4139-A0B4-DFEE7C9DB087}">
      <dgm:prSet/>
      <dgm:spPr/>
      <dgm:t>
        <a:bodyPr/>
        <a:lstStyle/>
        <a:p>
          <a:endParaRPr lang="en-US"/>
        </a:p>
      </dgm:t>
    </dgm:pt>
    <dgm:pt modelId="{BD17F001-ABFE-4BDD-8271-6277EB10E35B}" type="sibTrans" cxnId="{3BAB1C8D-BB31-4139-A0B4-DFEE7C9DB087}">
      <dgm:prSet/>
      <dgm:spPr/>
      <dgm:t>
        <a:bodyPr/>
        <a:lstStyle/>
        <a:p>
          <a:endParaRPr lang="en-US"/>
        </a:p>
      </dgm:t>
    </dgm:pt>
    <dgm:pt modelId="{91E077A7-48BC-4CB9-87D0-E1F9FF36D4A2}" type="pres">
      <dgm:prSet presAssocID="{7ADBDFED-6BC8-48F2-B56E-2AED19A6E214}" presName="rootnode" presStyleCnt="0">
        <dgm:presLayoutVars>
          <dgm:chMax/>
          <dgm:chPref/>
          <dgm:dir/>
          <dgm:animLvl val="lvl"/>
        </dgm:presLayoutVars>
      </dgm:prSet>
      <dgm:spPr/>
      <dgm:t>
        <a:bodyPr/>
        <a:lstStyle/>
        <a:p>
          <a:endParaRPr lang="en-US"/>
        </a:p>
      </dgm:t>
    </dgm:pt>
    <dgm:pt modelId="{9CE82E21-6206-40FC-8887-64CA8E9775AC}" type="pres">
      <dgm:prSet presAssocID="{3A512C17-67E2-4748-ABF0-D6E98BB25FDC}" presName="composite" presStyleCnt="0"/>
      <dgm:spPr/>
      <dgm:t>
        <a:bodyPr/>
        <a:lstStyle/>
        <a:p>
          <a:endParaRPr lang="en-US"/>
        </a:p>
      </dgm:t>
    </dgm:pt>
    <dgm:pt modelId="{86783883-0161-4829-94CC-FDD4C1AC5A28}" type="pres">
      <dgm:prSet presAssocID="{3A512C17-67E2-4748-ABF0-D6E98BB25FDC}" presName="LShape" presStyleLbl="alignNode1" presStyleIdx="0" presStyleCnt="5"/>
      <dgm:spPr/>
      <dgm:t>
        <a:bodyPr/>
        <a:lstStyle/>
        <a:p>
          <a:endParaRPr lang="en-US"/>
        </a:p>
      </dgm:t>
    </dgm:pt>
    <dgm:pt modelId="{D15F5A0A-41C1-4088-A632-E103F0DC28D5}" type="pres">
      <dgm:prSet presAssocID="{3A512C17-67E2-4748-ABF0-D6E98BB25FDC}" presName="ParentText" presStyleLbl="revTx" presStyleIdx="0" presStyleCnt="3">
        <dgm:presLayoutVars>
          <dgm:chMax val="0"/>
          <dgm:chPref val="0"/>
          <dgm:bulletEnabled val="1"/>
        </dgm:presLayoutVars>
      </dgm:prSet>
      <dgm:spPr/>
      <dgm:t>
        <a:bodyPr/>
        <a:lstStyle/>
        <a:p>
          <a:endParaRPr lang="en-US"/>
        </a:p>
      </dgm:t>
    </dgm:pt>
    <dgm:pt modelId="{CD94CD35-F377-4E40-A27F-F6427997774E}" type="pres">
      <dgm:prSet presAssocID="{3A512C17-67E2-4748-ABF0-D6E98BB25FDC}" presName="Triangle" presStyleLbl="alignNode1" presStyleIdx="1" presStyleCnt="5"/>
      <dgm:spPr/>
      <dgm:t>
        <a:bodyPr/>
        <a:lstStyle/>
        <a:p>
          <a:endParaRPr lang="en-US"/>
        </a:p>
      </dgm:t>
    </dgm:pt>
    <dgm:pt modelId="{E4B87554-59B8-43FA-BA20-A358E54DFB3D}" type="pres">
      <dgm:prSet presAssocID="{43E30789-800E-404E-B2AE-5DFF6682622D}" presName="sibTrans" presStyleCnt="0"/>
      <dgm:spPr/>
      <dgm:t>
        <a:bodyPr/>
        <a:lstStyle/>
        <a:p>
          <a:endParaRPr lang="en-US"/>
        </a:p>
      </dgm:t>
    </dgm:pt>
    <dgm:pt modelId="{6F5D7D85-4CE9-4153-82F5-D30409FE7E15}" type="pres">
      <dgm:prSet presAssocID="{43E30789-800E-404E-B2AE-5DFF6682622D}" presName="space" presStyleCnt="0"/>
      <dgm:spPr/>
      <dgm:t>
        <a:bodyPr/>
        <a:lstStyle/>
        <a:p>
          <a:endParaRPr lang="en-US"/>
        </a:p>
      </dgm:t>
    </dgm:pt>
    <dgm:pt modelId="{771DADD5-9C32-45FD-9519-4F68EE1AE1C7}" type="pres">
      <dgm:prSet presAssocID="{20652AC8-8E23-4FD0-B507-1C7DA4FE46B0}" presName="composite" presStyleCnt="0"/>
      <dgm:spPr/>
      <dgm:t>
        <a:bodyPr/>
        <a:lstStyle/>
        <a:p>
          <a:endParaRPr lang="en-US"/>
        </a:p>
      </dgm:t>
    </dgm:pt>
    <dgm:pt modelId="{88D17FC4-077A-48AD-9BBE-0FD1AEC87285}" type="pres">
      <dgm:prSet presAssocID="{20652AC8-8E23-4FD0-B507-1C7DA4FE46B0}" presName="LShape" presStyleLbl="alignNode1" presStyleIdx="2" presStyleCnt="5"/>
      <dgm:spPr/>
      <dgm:t>
        <a:bodyPr/>
        <a:lstStyle/>
        <a:p>
          <a:endParaRPr lang="en-US"/>
        </a:p>
      </dgm:t>
    </dgm:pt>
    <dgm:pt modelId="{C101FA69-5770-4D60-90A6-B7F6FCF509E2}" type="pres">
      <dgm:prSet presAssocID="{20652AC8-8E23-4FD0-B507-1C7DA4FE46B0}" presName="ParentText" presStyleLbl="revTx" presStyleIdx="1" presStyleCnt="3">
        <dgm:presLayoutVars>
          <dgm:chMax val="0"/>
          <dgm:chPref val="0"/>
          <dgm:bulletEnabled val="1"/>
        </dgm:presLayoutVars>
      </dgm:prSet>
      <dgm:spPr/>
      <dgm:t>
        <a:bodyPr/>
        <a:lstStyle/>
        <a:p>
          <a:endParaRPr lang="en-US"/>
        </a:p>
      </dgm:t>
    </dgm:pt>
    <dgm:pt modelId="{46017A26-125B-4191-887F-51049F33FF77}" type="pres">
      <dgm:prSet presAssocID="{20652AC8-8E23-4FD0-B507-1C7DA4FE46B0}" presName="Triangle" presStyleLbl="alignNode1" presStyleIdx="3" presStyleCnt="5"/>
      <dgm:spPr/>
      <dgm:t>
        <a:bodyPr/>
        <a:lstStyle/>
        <a:p>
          <a:endParaRPr lang="en-US"/>
        </a:p>
      </dgm:t>
    </dgm:pt>
    <dgm:pt modelId="{4CC94B27-1D18-4B34-B82A-35C48219F0CE}" type="pres">
      <dgm:prSet presAssocID="{02224EB0-B46E-4511-8459-F973963BBC24}" presName="sibTrans" presStyleCnt="0"/>
      <dgm:spPr/>
      <dgm:t>
        <a:bodyPr/>
        <a:lstStyle/>
        <a:p>
          <a:endParaRPr lang="en-US"/>
        </a:p>
      </dgm:t>
    </dgm:pt>
    <dgm:pt modelId="{D1D796C8-A0E5-4252-81BA-953F97F0F500}" type="pres">
      <dgm:prSet presAssocID="{02224EB0-B46E-4511-8459-F973963BBC24}" presName="space" presStyleCnt="0"/>
      <dgm:spPr/>
      <dgm:t>
        <a:bodyPr/>
        <a:lstStyle/>
        <a:p>
          <a:endParaRPr lang="en-US"/>
        </a:p>
      </dgm:t>
    </dgm:pt>
    <dgm:pt modelId="{4AA8A697-AC4B-45B8-8275-9E24F594574E}" type="pres">
      <dgm:prSet presAssocID="{B232BED3-1C4F-4A51-B699-27FDA6EF99CA}" presName="composite" presStyleCnt="0"/>
      <dgm:spPr/>
      <dgm:t>
        <a:bodyPr/>
        <a:lstStyle/>
        <a:p>
          <a:endParaRPr lang="en-US"/>
        </a:p>
      </dgm:t>
    </dgm:pt>
    <dgm:pt modelId="{63126150-E925-4996-9B10-D99985664AFE}" type="pres">
      <dgm:prSet presAssocID="{B232BED3-1C4F-4A51-B699-27FDA6EF99CA}" presName="LShape" presStyleLbl="alignNode1" presStyleIdx="4" presStyleCnt="5"/>
      <dgm:spPr/>
      <dgm:t>
        <a:bodyPr/>
        <a:lstStyle/>
        <a:p>
          <a:endParaRPr lang="en-US"/>
        </a:p>
      </dgm:t>
    </dgm:pt>
    <dgm:pt modelId="{A71E1B0B-8DD2-4054-A2DC-016F18F8046B}" type="pres">
      <dgm:prSet presAssocID="{B232BED3-1C4F-4A51-B699-27FDA6EF99CA}" presName="ParentText" presStyleLbl="revTx" presStyleIdx="2" presStyleCnt="3">
        <dgm:presLayoutVars>
          <dgm:chMax val="0"/>
          <dgm:chPref val="0"/>
          <dgm:bulletEnabled val="1"/>
        </dgm:presLayoutVars>
      </dgm:prSet>
      <dgm:spPr/>
      <dgm:t>
        <a:bodyPr/>
        <a:lstStyle/>
        <a:p>
          <a:endParaRPr lang="en-US"/>
        </a:p>
      </dgm:t>
    </dgm:pt>
  </dgm:ptLst>
  <dgm:cxnLst>
    <dgm:cxn modelId="{F46CD794-CDC9-491A-BE39-A0885EF6F389}" type="presOf" srcId="{20652AC8-8E23-4FD0-B507-1C7DA4FE46B0}" destId="{C101FA69-5770-4D60-90A6-B7F6FCF509E2}" srcOrd="0" destOrd="0" presId="urn:microsoft.com/office/officeart/2009/3/layout/StepUpProcess"/>
    <dgm:cxn modelId="{B3D699C8-596C-497D-A025-249FD09AC0D5}" srcId="{7ADBDFED-6BC8-48F2-B56E-2AED19A6E214}" destId="{3A512C17-67E2-4748-ABF0-D6E98BB25FDC}" srcOrd="0" destOrd="0" parTransId="{FE0069BD-3F71-4F58-B7BC-A8EA4502BB24}" sibTransId="{43E30789-800E-404E-B2AE-5DFF6682622D}"/>
    <dgm:cxn modelId="{86C400E7-D853-450B-B65C-04F7EABCAD14}" type="presOf" srcId="{3A512C17-67E2-4748-ABF0-D6E98BB25FDC}" destId="{D15F5A0A-41C1-4088-A632-E103F0DC28D5}" srcOrd="0" destOrd="0" presId="urn:microsoft.com/office/officeart/2009/3/layout/StepUpProcess"/>
    <dgm:cxn modelId="{6D0DB22F-B9E9-4F18-80CC-224FF42FB600}" srcId="{7ADBDFED-6BC8-48F2-B56E-2AED19A6E214}" destId="{20652AC8-8E23-4FD0-B507-1C7DA4FE46B0}" srcOrd="1" destOrd="0" parTransId="{73980EDF-3BD0-4ABD-B34F-7D54A1DB0BDC}" sibTransId="{02224EB0-B46E-4511-8459-F973963BBC24}"/>
    <dgm:cxn modelId="{BEF4A587-43D6-45CD-826A-4EA78A8A6F8F}" type="presOf" srcId="{B232BED3-1C4F-4A51-B699-27FDA6EF99CA}" destId="{A71E1B0B-8DD2-4054-A2DC-016F18F8046B}" srcOrd="0" destOrd="0" presId="urn:microsoft.com/office/officeart/2009/3/layout/StepUpProcess"/>
    <dgm:cxn modelId="{3BAB1C8D-BB31-4139-A0B4-DFEE7C9DB087}" srcId="{7ADBDFED-6BC8-48F2-B56E-2AED19A6E214}" destId="{B232BED3-1C4F-4A51-B699-27FDA6EF99CA}" srcOrd="2" destOrd="0" parTransId="{DF3F26C2-D659-49FF-AEEB-A9FAEAAB2FED}" sibTransId="{BD17F001-ABFE-4BDD-8271-6277EB10E35B}"/>
    <dgm:cxn modelId="{532E4814-E31A-43B6-A1A4-3282A71039B2}" type="presOf" srcId="{7ADBDFED-6BC8-48F2-B56E-2AED19A6E214}" destId="{91E077A7-48BC-4CB9-87D0-E1F9FF36D4A2}" srcOrd="0" destOrd="0" presId="urn:microsoft.com/office/officeart/2009/3/layout/StepUpProcess"/>
    <dgm:cxn modelId="{7F6B9366-1EA5-48E5-921E-C5C6F5206FCE}" type="presParOf" srcId="{91E077A7-48BC-4CB9-87D0-E1F9FF36D4A2}" destId="{9CE82E21-6206-40FC-8887-64CA8E9775AC}" srcOrd="0" destOrd="0" presId="urn:microsoft.com/office/officeart/2009/3/layout/StepUpProcess"/>
    <dgm:cxn modelId="{B779602F-5E90-4116-9CE8-EA3E70656895}" type="presParOf" srcId="{9CE82E21-6206-40FC-8887-64CA8E9775AC}" destId="{86783883-0161-4829-94CC-FDD4C1AC5A28}" srcOrd="0" destOrd="0" presId="urn:microsoft.com/office/officeart/2009/3/layout/StepUpProcess"/>
    <dgm:cxn modelId="{110D1888-4CE4-4E2C-AE56-24F0A5556050}" type="presParOf" srcId="{9CE82E21-6206-40FC-8887-64CA8E9775AC}" destId="{D15F5A0A-41C1-4088-A632-E103F0DC28D5}" srcOrd="1" destOrd="0" presId="urn:microsoft.com/office/officeart/2009/3/layout/StepUpProcess"/>
    <dgm:cxn modelId="{3E96308B-5C21-435B-919E-7B79A7430282}" type="presParOf" srcId="{9CE82E21-6206-40FC-8887-64CA8E9775AC}" destId="{CD94CD35-F377-4E40-A27F-F6427997774E}" srcOrd="2" destOrd="0" presId="urn:microsoft.com/office/officeart/2009/3/layout/StepUpProcess"/>
    <dgm:cxn modelId="{C6A30163-919D-403B-8702-5F8D5C2D0BBD}" type="presParOf" srcId="{91E077A7-48BC-4CB9-87D0-E1F9FF36D4A2}" destId="{E4B87554-59B8-43FA-BA20-A358E54DFB3D}" srcOrd="1" destOrd="0" presId="urn:microsoft.com/office/officeart/2009/3/layout/StepUpProcess"/>
    <dgm:cxn modelId="{841F3233-73FF-4EB2-AA0A-BDE08A866CB5}" type="presParOf" srcId="{E4B87554-59B8-43FA-BA20-A358E54DFB3D}" destId="{6F5D7D85-4CE9-4153-82F5-D30409FE7E15}" srcOrd="0" destOrd="0" presId="urn:microsoft.com/office/officeart/2009/3/layout/StepUpProcess"/>
    <dgm:cxn modelId="{98CB39AB-C04E-4490-8647-1DB93DB6C0BC}" type="presParOf" srcId="{91E077A7-48BC-4CB9-87D0-E1F9FF36D4A2}" destId="{771DADD5-9C32-45FD-9519-4F68EE1AE1C7}" srcOrd="2" destOrd="0" presId="urn:microsoft.com/office/officeart/2009/3/layout/StepUpProcess"/>
    <dgm:cxn modelId="{ED2849D6-F197-425B-94FB-09526A05871A}" type="presParOf" srcId="{771DADD5-9C32-45FD-9519-4F68EE1AE1C7}" destId="{88D17FC4-077A-48AD-9BBE-0FD1AEC87285}" srcOrd="0" destOrd="0" presId="urn:microsoft.com/office/officeart/2009/3/layout/StepUpProcess"/>
    <dgm:cxn modelId="{143C4DB8-215B-41F6-87D1-A949E14A4F01}" type="presParOf" srcId="{771DADD5-9C32-45FD-9519-4F68EE1AE1C7}" destId="{C101FA69-5770-4D60-90A6-B7F6FCF509E2}" srcOrd="1" destOrd="0" presId="urn:microsoft.com/office/officeart/2009/3/layout/StepUpProcess"/>
    <dgm:cxn modelId="{FE000CEE-EFA6-4E95-A112-33D9FC642EAA}" type="presParOf" srcId="{771DADD5-9C32-45FD-9519-4F68EE1AE1C7}" destId="{46017A26-125B-4191-887F-51049F33FF77}" srcOrd="2" destOrd="0" presId="urn:microsoft.com/office/officeart/2009/3/layout/StepUpProcess"/>
    <dgm:cxn modelId="{CE06A2A6-65F5-40EC-8B3F-389729E5CB7A}" type="presParOf" srcId="{91E077A7-48BC-4CB9-87D0-E1F9FF36D4A2}" destId="{4CC94B27-1D18-4B34-B82A-35C48219F0CE}" srcOrd="3" destOrd="0" presId="urn:microsoft.com/office/officeart/2009/3/layout/StepUpProcess"/>
    <dgm:cxn modelId="{6A64E6F8-E9AB-4B17-A13E-3DAFCEECAADB}" type="presParOf" srcId="{4CC94B27-1D18-4B34-B82A-35C48219F0CE}" destId="{D1D796C8-A0E5-4252-81BA-953F97F0F500}" srcOrd="0" destOrd="0" presId="urn:microsoft.com/office/officeart/2009/3/layout/StepUpProcess"/>
    <dgm:cxn modelId="{24E23F87-7818-4D61-B841-FA4063C4FD9F}" type="presParOf" srcId="{91E077A7-48BC-4CB9-87D0-E1F9FF36D4A2}" destId="{4AA8A697-AC4B-45B8-8275-9E24F594574E}" srcOrd="4" destOrd="0" presId="urn:microsoft.com/office/officeart/2009/3/layout/StepUpProcess"/>
    <dgm:cxn modelId="{5DBF68DA-18A4-4C54-A171-ADF0906F1844}" type="presParOf" srcId="{4AA8A697-AC4B-45B8-8275-9E24F594574E}" destId="{63126150-E925-4996-9B10-D99985664AFE}" srcOrd="0" destOrd="0" presId="urn:microsoft.com/office/officeart/2009/3/layout/StepUpProcess"/>
    <dgm:cxn modelId="{6849A864-26CE-4FC3-BF99-C13F4684CD34}" type="presParOf" srcId="{4AA8A697-AC4B-45B8-8275-9E24F594574E}" destId="{A71E1B0B-8DD2-4054-A2DC-016F18F8046B}"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1493264-6F09-424D-B9FF-3F4B62DDB792}" type="doc">
      <dgm:prSet loTypeId="urn:microsoft.com/office/officeart/2005/8/layout/gear1" loCatId="process" qsTypeId="urn:microsoft.com/office/officeart/2005/8/quickstyle/3d1" qsCatId="3D" csTypeId="urn:microsoft.com/office/officeart/2005/8/colors/colorful4" csCatId="colorful" phldr="1"/>
      <dgm:spPr/>
    </dgm:pt>
    <dgm:pt modelId="{AB747553-B270-483D-8988-155A3155878C}">
      <dgm:prSet phldrT="[Text]"/>
      <dgm:spPr/>
      <dgm:t>
        <a:bodyPr/>
        <a:lstStyle/>
        <a:p>
          <a:r>
            <a:rPr lang="en-US" b="1" dirty="0" smtClean="0">
              <a:latin typeface="Calibri" pitchFamily="34" charset="0"/>
              <a:cs typeface="Calibri" pitchFamily="34" charset="0"/>
            </a:rPr>
            <a:t>Try to Rationalize</a:t>
          </a:r>
          <a:endParaRPr lang="en-US" b="1" dirty="0">
            <a:latin typeface="Calibri" pitchFamily="34" charset="0"/>
            <a:cs typeface="Calibri" pitchFamily="34" charset="0"/>
          </a:endParaRPr>
        </a:p>
      </dgm:t>
    </dgm:pt>
    <dgm:pt modelId="{A740B12B-B2DF-4714-B7F9-D421ED911554}" type="parTrans" cxnId="{5559CC14-285C-4E51-978C-C015D165F8BE}">
      <dgm:prSet/>
      <dgm:spPr/>
      <dgm:t>
        <a:bodyPr/>
        <a:lstStyle/>
        <a:p>
          <a:endParaRPr lang="en-US"/>
        </a:p>
      </dgm:t>
    </dgm:pt>
    <dgm:pt modelId="{A64844CA-9D17-43C4-8B63-0C19EAAB0BF5}" type="sibTrans" cxnId="{5559CC14-285C-4E51-978C-C015D165F8BE}">
      <dgm:prSet/>
      <dgm:spPr/>
      <dgm:t>
        <a:bodyPr/>
        <a:lstStyle/>
        <a:p>
          <a:endParaRPr lang="en-US"/>
        </a:p>
      </dgm:t>
    </dgm:pt>
    <dgm:pt modelId="{2401ECF8-8F66-40A8-883B-A4918CCFC749}">
      <dgm:prSet phldrT="[Text]"/>
      <dgm:spPr/>
      <dgm:t>
        <a:bodyPr/>
        <a:lstStyle/>
        <a:p>
          <a:r>
            <a:rPr lang="en-US" b="1" dirty="0" smtClean="0">
              <a:latin typeface="Calibri" pitchFamily="34" charset="0"/>
              <a:cs typeface="Calibri" pitchFamily="34" charset="0"/>
            </a:rPr>
            <a:t>Service oriented </a:t>
          </a:r>
          <a:endParaRPr lang="en-US" b="1" dirty="0">
            <a:latin typeface="Calibri" pitchFamily="34" charset="0"/>
            <a:cs typeface="Calibri" pitchFamily="34" charset="0"/>
          </a:endParaRPr>
        </a:p>
      </dgm:t>
    </dgm:pt>
    <dgm:pt modelId="{B8D68400-DC2B-4CED-A00B-B3129BE20B81}" type="parTrans" cxnId="{713A035D-B54D-4D91-B76E-9BFA2146C22D}">
      <dgm:prSet/>
      <dgm:spPr/>
      <dgm:t>
        <a:bodyPr/>
        <a:lstStyle/>
        <a:p>
          <a:endParaRPr lang="en-US"/>
        </a:p>
      </dgm:t>
    </dgm:pt>
    <dgm:pt modelId="{2063E3D0-F675-42E3-AC12-A924607ED3A8}" type="sibTrans" cxnId="{713A035D-B54D-4D91-B76E-9BFA2146C22D}">
      <dgm:prSet/>
      <dgm:spPr/>
      <dgm:t>
        <a:bodyPr/>
        <a:lstStyle/>
        <a:p>
          <a:endParaRPr lang="en-US"/>
        </a:p>
      </dgm:t>
    </dgm:pt>
    <dgm:pt modelId="{9FF0FA51-481F-425F-BA02-F7AC6D092C95}">
      <dgm:prSet phldrT="[Text]" custT="1"/>
      <dgm:spPr/>
      <dgm:t>
        <a:bodyPr/>
        <a:lstStyle/>
        <a:p>
          <a:r>
            <a:rPr lang="en-US" sz="1200" b="1" dirty="0" smtClean="0">
              <a:latin typeface="Calibri" pitchFamily="34" charset="0"/>
              <a:cs typeface="Calibri" pitchFamily="34" charset="0"/>
            </a:rPr>
            <a:t>STABILITY</a:t>
          </a:r>
          <a:endParaRPr lang="en-US" sz="1200" b="1" dirty="0">
            <a:latin typeface="Calibri" pitchFamily="34" charset="0"/>
            <a:cs typeface="Calibri" pitchFamily="34" charset="0"/>
          </a:endParaRPr>
        </a:p>
      </dgm:t>
    </dgm:pt>
    <dgm:pt modelId="{91ECCDD4-4881-41A8-AFB4-8F4C4A4FCB28}" type="parTrans" cxnId="{80A558F7-9E57-48D3-8752-3B9B1E724B9E}">
      <dgm:prSet/>
      <dgm:spPr/>
      <dgm:t>
        <a:bodyPr/>
        <a:lstStyle/>
        <a:p>
          <a:endParaRPr lang="en-US"/>
        </a:p>
      </dgm:t>
    </dgm:pt>
    <dgm:pt modelId="{BE030769-91F2-4081-BADF-8377EB48213C}" type="sibTrans" cxnId="{80A558F7-9E57-48D3-8752-3B9B1E724B9E}">
      <dgm:prSet/>
      <dgm:spPr/>
      <dgm:t>
        <a:bodyPr/>
        <a:lstStyle/>
        <a:p>
          <a:endParaRPr lang="en-US"/>
        </a:p>
      </dgm:t>
    </dgm:pt>
    <dgm:pt modelId="{825D2206-E155-4F83-8B47-A165E0F1B572}" type="pres">
      <dgm:prSet presAssocID="{31493264-6F09-424D-B9FF-3F4B62DDB792}" presName="composite" presStyleCnt="0">
        <dgm:presLayoutVars>
          <dgm:chMax val="3"/>
          <dgm:animLvl val="lvl"/>
          <dgm:resizeHandles val="exact"/>
        </dgm:presLayoutVars>
      </dgm:prSet>
      <dgm:spPr/>
    </dgm:pt>
    <dgm:pt modelId="{0CB1D8BC-A35E-4965-B68C-D89068268F3F}" type="pres">
      <dgm:prSet presAssocID="{AB747553-B270-483D-8988-155A3155878C}" presName="gear1" presStyleLbl="node1" presStyleIdx="0" presStyleCnt="3">
        <dgm:presLayoutVars>
          <dgm:chMax val="1"/>
          <dgm:bulletEnabled val="1"/>
        </dgm:presLayoutVars>
      </dgm:prSet>
      <dgm:spPr/>
      <dgm:t>
        <a:bodyPr/>
        <a:lstStyle/>
        <a:p>
          <a:endParaRPr lang="en-US"/>
        </a:p>
      </dgm:t>
    </dgm:pt>
    <dgm:pt modelId="{215D7BCC-859F-4EF1-8644-3C071FC287EB}" type="pres">
      <dgm:prSet presAssocID="{AB747553-B270-483D-8988-155A3155878C}" presName="gear1srcNode" presStyleLbl="node1" presStyleIdx="0" presStyleCnt="3"/>
      <dgm:spPr/>
      <dgm:t>
        <a:bodyPr/>
        <a:lstStyle/>
        <a:p>
          <a:endParaRPr lang="en-US"/>
        </a:p>
      </dgm:t>
    </dgm:pt>
    <dgm:pt modelId="{37519494-B7EF-4D45-8E7D-100F3AC77A13}" type="pres">
      <dgm:prSet presAssocID="{AB747553-B270-483D-8988-155A3155878C}" presName="gear1dstNode" presStyleLbl="node1" presStyleIdx="0" presStyleCnt="3"/>
      <dgm:spPr/>
      <dgm:t>
        <a:bodyPr/>
        <a:lstStyle/>
        <a:p>
          <a:endParaRPr lang="en-US"/>
        </a:p>
      </dgm:t>
    </dgm:pt>
    <dgm:pt modelId="{624F46F9-AC6B-42C5-841C-D1E7F02B993A}" type="pres">
      <dgm:prSet presAssocID="{2401ECF8-8F66-40A8-883B-A4918CCFC749}" presName="gear2" presStyleLbl="node1" presStyleIdx="1" presStyleCnt="3">
        <dgm:presLayoutVars>
          <dgm:chMax val="1"/>
          <dgm:bulletEnabled val="1"/>
        </dgm:presLayoutVars>
      </dgm:prSet>
      <dgm:spPr/>
      <dgm:t>
        <a:bodyPr/>
        <a:lstStyle/>
        <a:p>
          <a:endParaRPr lang="en-US"/>
        </a:p>
      </dgm:t>
    </dgm:pt>
    <dgm:pt modelId="{A683243C-9924-4559-BDE8-B9FE5B8331F3}" type="pres">
      <dgm:prSet presAssocID="{2401ECF8-8F66-40A8-883B-A4918CCFC749}" presName="gear2srcNode" presStyleLbl="node1" presStyleIdx="1" presStyleCnt="3"/>
      <dgm:spPr/>
      <dgm:t>
        <a:bodyPr/>
        <a:lstStyle/>
        <a:p>
          <a:endParaRPr lang="en-US"/>
        </a:p>
      </dgm:t>
    </dgm:pt>
    <dgm:pt modelId="{8F79E8BA-3DD4-452C-B946-792814FB6798}" type="pres">
      <dgm:prSet presAssocID="{2401ECF8-8F66-40A8-883B-A4918CCFC749}" presName="gear2dstNode" presStyleLbl="node1" presStyleIdx="1" presStyleCnt="3"/>
      <dgm:spPr/>
      <dgm:t>
        <a:bodyPr/>
        <a:lstStyle/>
        <a:p>
          <a:endParaRPr lang="en-US"/>
        </a:p>
      </dgm:t>
    </dgm:pt>
    <dgm:pt modelId="{ED3DC45C-6080-41C1-A157-7544B712C4DD}" type="pres">
      <dgm:prSet presAssocID="{9FF0FA51-481F-425F-BA02-F7AC6D092C95}" presName="gear3" presStyleLbl="node1" presStyleIdx="2" presStyleCnt="3"/>
      <dgm:spPr/>
      <dgm:t>
        <a:bodyPr/>
        <a:lstStyle/>
        <a:p>
          <a:endParaRPr lang="en-US"/>
        </a:p>
      </dgm:t>
    </dgm:pt>
    <dgm:pt modelId="{38595749-91E8-45A8-A5A5-E06CCC8519CE}" type="pres">
      <dgm:prSet presAssocID="{9FF0FA51-481F-425F-BA02-F7AC6D092C95}" presName="gear3tx" presStyleLbl="node1" presStyleIdx="2" presStyleCnt="3">
        <dgm:presLayoutVars>
          <dgm:chMax val="1"/>
          <dgm:bulletEnabled val="1"/>
        </dgm:presLayoutVars>
      </dgm:prSet>
      <dgm:spPr/>
      <dgm:t>
        <a:bodyPr/>
        <a:lstStyle/>
        <a:p>
          <a:endParaRPr lang="en-US"/>
        </a:p>
      </dgm:t>
    </dgm:pt>
    <dgm:pt modelId="{9E506CA9-0434-42D2-ABA1-E8137752BC39}" type="pres">
      <dgm:prSet presAssocID="{9FF0FA51-481F-425F-BA02-F7AC6D092C95}" presName="gear3srcNode" presStyleLbl="node1" presStyleIdx="2" presStyleCnt="3"/>
      <dgm:spPr/>
      <dgm:t>
        <a:bodyPr/>
        <a:lstStyle/>
        <a:p>
          <a:endParaRPr lang="en-US"/>
        </a:p>
      </dgm:t>
    </dgm:pt>
    <dgm:pt modelId="{530D7615-B9A7-468D-BAD1-A7B966888B08}" type="pres">
      <dgm:prSet presAssocID="{9FF0FA51-481F-425F-BA02-F7AC6D092C95}" presName="gear3dstNode" presStyleLbl="node1" presStyleIdx="2" presStyleCnt="3"/>
      <dgm:spPr/>
      <dgm:t>
        <a:bodyPr/>
        <a:lstStyle/>
        <a:p>
          <a:endParaRPr lang="en-US"/>
        </a:p>
      </dgm:t>
    </dgm:pt>
    <dgm:pt modelId="{CAC1C0C4-FE2C-4A3F-B138-21E68CCCF51C}" type="pres">
      <dgm:prSet presAssocID="{A64844CA-9D17-43C4-8B63-0C19EAAB0BF5}" presName="connector1" presStyleLbl="sibTrans2D1" presStyleIdx="0" presStyleCnt="3"/>
      <dgm:spPr/>
      <dgm:t>
        <a:bodyPr/>
        <a:lstStyle/>
        <a:p>
          <a:endParaRPr lang="en-US"/>
        </a:p>
      </dgm:t>
    </dgm:pt>
    <dgm:pt modelId="{E283910A-F589-4B9F-8B68-46D3657F2CD1}" type="pres">
      <dgm:prSet presAssocID="{2063E3D0-F675-42E3-AC12-A924607ED3A8}" presName="connector2" presStyleLbl="sibTrans2D1" presStyleIdx="1" presStyleCnt="3"/>
      <dgm:spPr/>
      <dgm:t>
        <a:bodyPr/>
        <a:lstStyle/>
        <a:p>
          <a:endParaRPr lang="en-US"/>
        </a:p>
      </dgm:t>
    </dgm:pt>
    <dgm:pt modelId="{BF8E440A-894F-454A-813A-E95F6F833797}" type="pres">
      <dgm:prSet presAssocID="{BE030769-91F2-4081-BADF-8377EB48213C}" presName="connector3" presStyleLbl="sibTrans2D1" presStyleIdx="2" presStyleCnt="3"/>
      <dgm:spPr/>
      <dgm:t>
        <a:bodyPr/>
        <a:lstStyle/>
        <a:p>
          <a:endParaRPr lang="en-US"/>
        </a:p>
      </dgm:t>
    </dgm:pt>
  </dgm:ptLst>
  <dgm:cxnLst>
    <dgm:cxn modelId="{4E5BB65D-9711-4864-8F65-5BB533077FF5}" type="presOf" srcId="{9FF0FA51-481F-425F-BA02-F7AC6D092C95}" destId="{530D7615-B9A7-468D-BAD1-A7B966888B08}" srcOrd="3" destOrd="0" presId="urn:microsoft.com/office/officeart/2005/8/layout/gear1"/>
    <dgm:cxn modelId="{9C064F02-1417-4986-96FB-A3407BA2E01C}" type="presOf" srcId="{A64844CA-9D17-43C4-8B63-0C19EAAB0BF5}" destId="{CAC1C0C4-FE2C-4A3F-B138-21E68CCCF51C}" srcOrd="0" destOrd="0" presId="urn:microsoft.com/office/officeart/2005/8/layout/gear1"/>
    <dgm:cxn modelId="{211CC5C3-75F2-40C2-81EA-A026E273BEA3}" type="presOf" srcId="{2401ECF8-8F66-40A8-883B-A4918CCFC749}" destId="{624F46F9-AC6B-42C5-841C-D1E7F02B993A}" srcOrd="0" destOrd="0" presId="urn:microsoft.com/office/officeart/2005/8/layout/gear1"/>
    <dgm:cxn modelId="{307D1C6F-D8A5-4C52-A8EF-0DA9B0CD5687}" type="presOf" srcId="{AB747553-B270-483D-8988-155A3155878C}" destId="{0CB1D8BC-A35E-4965-B68C-D89068268F3F}" srcOrd="0" destOrd="0" presId="urn:microsoft.com/office/officeart/2005/8/layout/gear1"/>
    <dgm:cxn modelId="{D7765EA3-EF58-413A-8CDC-20F08A37D26E}" type="presOf" srcId="{31493264-6F09-424D-B9FF-3F4B62DDB792}" destId="{825D2206-E155-4F83-8B47-A165E0F1B572}" srcOrd="0" destOrd="0" presId="urn:microsoft.com/office/officeart/2005/8/layout/gear1"/>
    <dgm:cxn modelId="{752D843F-211C-4EB6-8E3E-4ACDA26750D2}" type="presOf" srcId="{2401ECF8-8F66-40A8-883B-A4918CCFC749}" destId="{8F79E8BA-3DD4-452C-B946-792814FB6798}" srcOrd="2" destOrd="0" presId="urn:microsoft.com/office/officeart/2005/8/layout/gear1"/>
    <dgm:cxn modelId="{CB12C516-6BB6-4020-8A4F-6BB152247E54}" type="presOf" srcId="{9FF0FA51-481F-425F-BA02-F7AC6D092C95}" destId="{38595749-91E8-45A8-A5A5-E06CCC8519CE}" srcOrd="1" destOrd="0" presId="urn:microsoft.com/office/officeart/2005/8/layout/gear1"/>
    <dgm:cxn modelId="{80A558F7-9E57-48D3-8752-3B9B1E724B9E}" srcId="{31493264-6F09-424D-B9FF-3F4B62DDB792}" destId="{9FF0FA51-481F-425F-BA02-F7AC6D092C95}" srcOrd="2" destOrd="0" parTransId="{91ECCDD4-4881-41A8-AFB4-8F4C4A4FCB28}" sibTransId="{BE030769-91F2-4081-BADF-8377EB48213C}"/>
    <dgm:cxn modelId="{86928953-D525-466B-B2CE-128FDFF4CB86}" type="presOf" srcId="{AB747553-B270-483D-8988-155A3155878C}" destId="{215D7BCC-859F-4EF1-8644-3C071FC287EB}" srcOrd="1" destOrd="0" presId="urn:microsoft.com/office/officeart/2005/8/layout/gear1"/>
    <dgm:cxn modelId="{B3ECEAED-C4D6-48D8-B454-B3E894251C0E}" type="presOf" srcId="{9FF0FA51-481F-425F-BA02-F7AC6D092C95}" destId="{ED3DC45C-6080-41C1-A157-7544B712C4DD}" srcOrd="0" destOrd="0" presId="urn:microsoft.com/office/officeart/2005/8/layout/gear1"/>
    <dgm:cxn modelId="{067A2663-F982-4A41-9677-6E31D9DF2DAD}" type="presOf" srcId="{2063E3D0-F675-42E3-AC12-A924607ED3A8}" destId="{E283910A-F589-4B9F-8B68-46D3657F2CD1}" srcOrd="0" destOrd="0" presId="urn:microsoft.com/office/officeart/2005/8/layout/gear1"/>
    <dgm:cxn modelId="{8598A37A-A6CC-4399-8545-82992E689283}" type="presOf" srcId="{2401ECF8-8F66-40A8-883B-A4918CCFC749}" destId="{A683243C-9924-4559-BDE8-B9FE5B8331F3}" srcOrd="1" destOrd="0" presId="urn:microsoft.com/office/officeart/2005/8/layout/gear1"/>
    <dgm:cxn modelId="{713A035D-B54D-4D91-B76E-9BFA2146C22D}" srcId="{31493264-6F09-424D-B9FF-3F4B62DDB792}" destId="{2401ECF8-8F66-40A8-883B-A4918CCFC749}" srcOrd="1" destOrd="0" parTransId="{B8D68400-DC2B-4CED-A00B-B3129BE20B81}" sibTransId="{2063E3D0-F675-42E3-AC12-A924607ED3A8}"/>
    <dgm:cxn modelId="{5559CC14-285C-4E51-978C-C015D165F8BE}" srcId="{31493264-6F09-424D-B9FF-3F4B62DDB792}" destId="{AB747553-B270-483D-8988-155A3155878C}" srcOrd="0" destOrd="0" parTransId="{A740B12B-B2DF-4714-B7F9-D421ED911554}" sibTransId="{A64844CA-9D17-43C4-8B63-0C19EAAB0BF5}"/>
    <dgm:cxn modelId="{E170A155-F925-47D4-B612-71E6D4193A5D}" type="presOf" srcId="{BE030769-91F2-4081-BADF-8377EB48213C}" destId="{BF8E440A-894F-454A-813A-E95F6F833797}" srcOrd="0" destOrd="0" presId="urn:microsoft.com/office/officeart/2005/8/layout/gear1"/>
    <dgm:cxn modelId="{D9492151-126F-4629-B0D1-24A0873C4D75}" type="presOf" srcId="{AB747553-B270-483D-8988-155A3155878C}" destId="{37519494-B7EF-4D45-8E7D-100F3AC77A13}" srcOrd="2" destOrd="0" presId="urn:microsoft.com/office/officeart/2005/8/layout/gear1"/>
    <dgm:cxn modelId="{C7C172BA-5EC8-4A17-97A4-02F09C1A0196}" type="presOf" srcId="{9FF0FA51-481F-425F-BA02-F7AC6D092C95}" destId="{9E506CA9-0434-42D2-ABA1-E8137752BC39}" srcOrd="2" destOrd="0" presId="urn:microsoft.com/office/officeart/2005/8/layout/gear1"/>
    <dgm:cxn modelId="{0BE04422-B868-405F-B5BA-EB9BF80F5DC0}" type="presParOf" srcId="{825D2206-E155-4F83-8B47-A165E0F1B572}" destId="{0CB1D8BC-A35E-4965-B68C-D89068268F3F}" srcOrd="0" destOrd="0" presId="urn:microsoft.com/office/officeart/2005/8/layout/gear1"/>
    <dgm:cxn modelId="{25686ACA-5CE1-45A5-AFC8-632FE6763D6F}" type="presParOf" srcId="{825D2206-E155-4F83-8B47-A165E0F1B572}" destId="{215D7BCC-859F-4EF1-8644-3C071FC287EB}" srcOrd="1" destOrd="0" presId="urn:microsoft.com/office/officeart/2005/8/layout/gear1"/>
    <dgm:cxn modelId="{67491A94-DC40-4CA7-B604-5DCC6898144F}" type="presParOf" srcId="{825D2206-E155-4F83-8B47-A165E0F1B572}" destId="{37519494-B7EF-4D45-8E7D-100F3AC77A13}" srcOrd="2" destOrd="0" presId="urn:microsoft.com/office/officeart/2005/8/layout/gear1"/>
    <dgm:cxn modelId="{859FD7F5-62F9-45E5-B5F1-29B653274C8A}" type="presParOf" srcId="{825D2206-E155-4F83-8B47-A165E0F1B572}" destId="{624F46F9-AC6B-42C5-841C-D1E7F02B993A}" srcOrd="3" destOrd="0" presId="urn:microsoft.com/office/officeart/2005/8/layout/gear1"/>
    <dgm:cxn modelId="{64B41F2B-47D7-4ECC-A91A-EACBAA6375DA}" type="presParOf" srcId="{825D2206-E155-4F83-8B47-A165E0F1B572}" destId="{A683243C-9924-4559-BDE8-B9FE5B8331F3}" srcOrd="4" destOrd="0" presId="urn:microsoft.com/office/officeart/2005/8/layout/gear1"/>
    <dgm:cxn modelId="{39A69783-7EA5-40E3-B676-638883F60936}" type="presParOf" srcId="{825D2206-E155-4F83-8B47-A165E0F1B572}" destId="{8F79E8BA-3DD4-452C-B946-792814FB6798}" srcOrd="5" destOrd="0" presId="urn:microsoft.com/office/officeart/2005/8/layout/gear1"/>
    <dgm:cxn modelId="{6B692B4E-4C53-4A62-AC6D-D52E40FE7148}" type="presParOf" srcId="{825D2206-E155-4F83-8B47-A165E0F1B572}" destId="{ED3DC45C-6080-41C1-A157-7544B712C4DD}" srcOrd="6" destOrd="0" presId="urn:microsoft.com/office/officeart/2005/8/layout/gear1"/>
    <dgm:cxn modelId="{0FD5D457-4E72-4AEE-923D-1A6258CAA013}" type="presParOf" srcId="{825D2206-E155-4F83-8B47-A165E0F1B572}" destId="{38595749-91E8-45A8-A5A5-E06CCC8519CE}" srcOrd="7" destOrd="0" presId="urn:microsoft.com/office/officeart/2005/8/layout/gear1"/>
    <dgm:cxn modelId="{A498BE3E-20C9-4E5C-AD4F-717E6C31FFD3}" type="presParOf" srcId="{825D2206-E155-4F83-8B47-A165E0F1B572}" destId="{9E506CA9-0434-42D2-ABA1-E8137752BC39}" srcOrd="8" destOrd="0" presId="urn:microsoft.com/office/officeart/2005/8/layout/gear1"/>
    <dgm:cxn modelId="{BBBC8CF5-41EA-44FF-AF86-9EC285AF0CC0}" type="presParOf" srcId="{825D2206-E155-4F83-8B47-A165E0F1B572}" destId="{530D7615-B9A7-468D-BAD1-A7B966888B08}" srcOrd="9" destOrd="0" presId="urn:microsoft.com/office/officeart/2005/8/layout/gear1"/>
    <dgm:cxn modelId="{CFF8A48F-AAB3-46A0-BE82-4BFB1D660310}" type="presParOf" srcId="{825D2206-E155-4F83-8B47-A165E0F1B572}" destId="{CAC1C0C4-FE2C-4A3F-B138-21E68CCCF51C}" srcOrd="10" destOrd="0" presId="urn:microsoft.com/office/officeart/2005/8/layout/gear1"/>
    <dgm:cxn modelId="{76285CE0-9BF7-45CF-84DB-69B2C491C68D}" type="presParOf" srcId="{825D2206-E155-4F83-8B47-A165E0F1B572}" destId="{E283910A-F589-4B9F-8B68-46D3657F2CD1}" srcOrd="11" destOrd="0" presId="urn:microsoft.com/office/officeart/2005/8/layout/gear1"/>
    <dgm:cxn modelId="{5FB1A705-F1F0-491C-AEB3-02B4427E3D8F}" type="presParOf" srcId="{825D2206-E155-4F83-8B47-A165E0F1B572}" destId="{BF8E440A-894F-454A-813A-E95F6F833797}"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5EB209-C2B3-46FF-8248-75F6297B2756}">
      <dsp:nvSpPr>
        <dsp:cNvPr id="0" name=""/>
        <dsp:cNvSpPr/>
      </dsp:nvSpPr>
      <dsp:spPr>
        <a:xfrm>
          <a:off x="0" y="0"/>
          <a:ext cx="5470499"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1FDFB1-ABED-4A9F-BFF5-99EC6195B77D}">
      <dsp:nvSpPr>
        <dsp:cNvPr id="0" name=""/>
        <dsp:cNvSpPr/>
      </dsp:nvSpPr>
      <dsp:spPr>
        <a:xfrm>
          <a:off x="0" y="0"/>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Introduction to Cloud Computing</a:t>
          </a:r>
          <a:endParaRPr lang="en-US" sz="2000" b="0" kern="1200" dirty="0">
            <a:solidFill>
              <a:schemeClr val="tx1"/>
            </a:solidFill>
            <a:latin typeface="+mj-lt"/>
          </a:endParaRPr>
        </a:p>
      </dsp:txBody>
      <dsp:txXfrm>
        <a:off x="0" y="0"/>
        <a:ext cx="5470499" cy="554148"/>
      </dsp:txXfrm>
    </dsp:sp>
    <dsp:sp modelId="{43771987-D084-4406-896F-B1F1B0BFB98C}">
      <dsp:nvSpPr>
        <dsp:cNvPr id="0" name=""/>
        <dsp:cNvSpPr/>
      </dsp:nvSpPr>
      <dsp:spPr>
        <a:xfrm>
          <a:off x="0" y="554148"/>
          <a:ext cx="5470499"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749F38-C642-49CE-8AB1-A9C7B439EAC3}">
      <dsp:nvSpPr>
        <dsp:cNvPr id="0" name=""/>
        <dsp:cNvSpPr/>
      </dsp:nvSpPr>
      <dsp:spPr>
        <a:xfrm>
          <a:off x="0" y="554148"/>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Virtualization and Hypervisors</a:t>
          </a:r>
          <a:endParaRPr lang="en-US" sz="2000" b="0" kern="1200" dirty="0">
            <a:solidFill>
              <a:schemeClr val="tx1"/>
            </a:solidFill>
            <a:latin typeface="+mj-lt"/>
          </a:endParaRPr>
        </a:p>
      </dsp:txBody>
      <dsp:txXfrm>
        <a:off x="0" y="554148"/>
        <a:ext cx="5470499" cy="554148"/>
      </dsp:txXfrm>
    </dsp:sp>
    <dsp:sp modelId="{4560C8EF-7410-4669-A259-63C32DDD04C1}">
      <dsp:nvSpPr>
        <dsp:cNvPr id="0" name=""/>
        <dsp:cNvSpPr/>
      </dsp:nvSpPr>
      <dsp:spPr>
        <a:xfrm>
          <a:off x="0" y="1108297"/>
          <a:ext cx="5470499"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4C7632-482A-409E-86F7-F376A72A760E}">
      <dsp:nvSpPr>
        <dsp:cNvPr id="0" name=""/>
        <dsp:cNvSpPr/>
      </dsp:nvSpPr>
      <dsp:spPr>
        <a:xfrm>
          <a:off x="0" y="1108297"/>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Cloud Service Models and Types</a:t>
          </a:r>
          <a:endParaRPr lang="en-US" sz="2000" b="0" kern="1200" dirty="0">
            <a:solidFill>
              <a:schemeClr val="tx1"/>
            </a:solidFill>
            <a:latin typeface="+mj-lt"/>
          </a:endParaRPr>
        </a:p>
      </dsp:txBody>
      <dsp:txXfrm>
        <a:off x="0" y="1108297"/>
        <a:ext cx="5470499" cy="554148"/>
      </dsp:txXfrm>
    </dsp:sp>
    <dsp:sp modelId="{C055FF11-81B4-4F1D-A0FE-E2C3D2E9514A}">
      <dsp:nvSpPr>
        <dsp:cNvPr id="0" name=""/>
        <dsp:cNvSpPr/>
      </dsp:nvSpPr>
      <dsp:spPr>
        <a:xfrm>
          <a:off x="0" y="1662446"/>
          <a:ext cx="5470499"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EAAEB-7F48-4A1F-8F64-E39D5BF72357}">
      <dsp:nvSpPr>
        <dsp:cNvPr id="0" name=""/>
        <dsp:cNvSpPr/>
      </dsp:nvSpPr>
      <dsp:spPr>
        <a:xfrm>
          <a:off x="0" y="1662446"/>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Cloud Market - Analysis</a:t>
          </a:r>
          <a:endParaRPr lang="en-US" sz="2000" b="0" kern="1200" dirty="0">
            <a:solidFill>
              <a:schemeClr val="tx1"/>
            </a:solidFill>
            <a:latin typeface="+mj-lt"/>
          </a:endParaRPr>
        </a:p>
      </dsp:txBody>
      <dsp:txXfrm>
        <a:off x="0" y="1662446"/>
        <a:ext cx="5470499" cy="554148"/>
      </dsp:txXfrm>
    </dsp:sp>
    <dsp:sp modelId="{89F674C6-7237-4BC2-BE2A-8FDDA8B86656}">
      <dsp:nvSpPr>
        <dsp:cNvPr id="0" name=""/>
        <dsp:cNvSpPr/>
      </dsp:nvSpPr>
      <dsp:spPr>
        <a:xfrm>
          <a:off x="0" y="2216594"/>
          <a:ext cx="5470499"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202AC9-BAAE-4A52-96B8-398B62CF4FD3}">
      <dsp:nvSpPr>
        <dsp:cNvPr id="0" name=""/>
        <dsp:cNvSpPr/>
      </dsp:nvSpPr>
      <dsp:spPr>
        <a:xfrm>
          <a:off x="0" y="2216594"/>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Cloud Pricing</a:t>
          </a:r>
          <a:endParaRPr lang="en-US" sz="2000" b="0" kern="1200" dirty="0">
            <a:solidFill>
              <a:schemeClr val="tx1"/>
            </a:solidFill>
            <a:latin typeface="+mj-lt"/>
          </a:endParaRPr>
        </a:p>
      </dsp:txBody>
      <dsp:txXfrm>
        <a:off x="0" y="2216594"/>
        <a:ext cx="5470499" cy="554148"/>
      </dsp:txXfrm>
    </dsp:sp>
    <dsp:sp modelId="{3E446127-EDF1-443E-B2EE-92ABC6D585E5}">
      <dsp:nvSpPr>
        <dsp:cNvPr id="0" name=""/>
        <dsp:cNvSpPr/>
      </dsp:nvSpPr>
      <dsp:spPr>
        <a:xfrm>
          <a:off x="0" y="2770743"/>
          <a:ext cx="5470499"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B38372-902A-474E-A6CB-77B0BF2D2D7C}">
      <dsp:nvSpPr>
        <dsp:cNvPr id="0" name=""/>
        <dsp:cNvSpPr/>
      </dsp:nvSpPr>
      <dsp:spPr>
        <a:xfrm>
          <a:off x="0" y="2770743"/>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SDN / NFV</a:t>
          </a:r>
        </a:p>
      </dsp:txBody>
      <dsp:txXfrm>
        <a:off x="0" y="2770743"/>
        <a:ext cx="5470499" cy="554148"/>
      </dsp:txXfrm>
    </dsp:sp>
    <dsp:sp modelId="{1EFD6A84-5F2E-44EA-8247-42A8E5465A55}">
      <dsp:nvSpPr>
        <dsp:cNvPr id="0" name=""/>
        <dsp:cNvSpPr/>
      </dsp:nvSpPr>
      <dsp:spPr>
        <a:xfrm>
          <a:off x="0" y="3324892"/>
          <a:ext cx="5470499"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C0A645-E0E7-49A5-B2B8-BB4671EC1695}">
      <dsp:nvSpPr>
        <dsp:cNvPr id="0" name=""/>
        <dsp:cNvSpPr/>
      </dsp:nvSpPr>
      <dsp:spPr>
        <a:xfrm>
          <a:off x="0" y="3324892"/>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Capacity Planning and Cloud Security</a:t>
          </a:r>
        </a:p>
      </dsp:txBody>
      <dsp:txXfrm>
        <a:off x="0" y="3324892"/>
        <a:ext cx="5470499" cy="554148"/>
      </dsp:txXfrm>
    </dsp:sp>
    <dsp:sp modelId="{B7802A97-2370-4783-9388-9B498C7CC033}">
      <dsp:nvSpPr>
        <dsp:cNvPr id="0" name=""/>
        <dsp:cNvSpPr/>
      </dsp:nvSpPr>
      <dsp:spPr>
        <a:xfrm>
          <a:off x="0" y="3879041"/>
          <a:ext cx="5470499"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316A29-4C00-4767-99C7-053BFABD7C8B}">
      <dsp:nvSpPr>
        <dsp:cNvPr id="0" name=""/>
        <dsp:cNvSpPr/>
      </dsp:nvSpPr>
      <dsp:spPr>
        <a:xfrm>
          <a:off x="0" y="3879041"/>
          <a:ext cx="5470499" cy="5541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0" kern="1200" dirty="0" smtClean="0">
              <a:solidFill>
                <a:schemeClr val="tx1"/>
              </a:solidFill>
              <a:latin typeface="+mj-lt"/>
            </a:rPr>
            <a:t>Q&amp;A</a:t>
          </a:r>
          <a:endParaRPr lang="en-US" sz="2000" b="0" kern="1200" dirty="0">
            <a:solidFill>
              <a:schemeClr val="tx1"/>
            </a:solidFill>
            <a:latin typeface="+mj-lt"/>
          </a:endParaRPr>
        </a:p>
      </dsp:txBody>
      <dsp:txXfrm>
        <a:off x="0" y="3879041"/>
        <a:ext cx="5470499" cy="5541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89249A-FD8B-472B-ACD1-9B128FE8FF71}">
      <dsp:nvSpPr>
        <dsp:cNvPr id="0" name=""/>
        <dsp:cNvSpPr/>
      </dsp:nvSpPr>
      <dsp:spPr>
        <a:xfrm>
          <a:off x="-4594335" y="-704407"/>
          <a:ext cx="5472816" cy="5472816"/>
        </a:xfrm>
        <a:prstGeom prst="blockArc">
          <a:avLst>
            <a:gd name="adj1" fmla="val 18900000"/>
            <a:gd name="adj2" fmla="val 2700000"/>
            <a:gd name="adj3" fmla="val 395"/>
          </a:avLst>
        </a:pr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461496-79FA-470B-B2BC-A052108F17AB}">
      <dsp:nvSpPr>
        <dsp:cNvPr id="0" name=""/>
        <dsp:cNvSpPr/>
      </dsp:nvSpPr>
      <dsp:spPr>
        <a:xfrm>
          <a:off x="384538" y="253918"/>
          <a:ext cx="5656275" cy="50816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8580" rIns="68580" bIns="68580" numCol="1" spcCol="1270" anchor="ctr" anchorCtr="0">
          <a:noAutofit/>
        </a:bodyPr>
        <a:lstStyle/>
        <a:p>
          <a:pPr lvl="0" algn="l" defTabSz="1200150">
            <a:lnSpc>
              <a:spcPct val="90000"/>
            </a:lnSpc>
            <a:spcBef>
              <a:spcPct val="0"/>
            </a:spcBef>
            <a:spcAft>
              <a:spcPct val="35000"/>
            </a:spcAft>
          </a:pPr>
          <a:r>
            <a:rPr lang="en-US" sz="2700" kern="1200" dirty="0" smtClean="0"/>
            <a:t>On-demand and self-service</a:t>
          </a:r>
          <a:endParaRPr lang="en-US" sz="2700" kern="1200" dirty="0"/>
        </a:p>
      </dsp:txBody>
      <dsp:txXfrm>
        <a:off x="384538" y="253918"/>
        <a:ext cx="5656275" cy="508162"/>
      </dsp:txXfrm>
    </dsp:sp>
    <dsp:sp modelId="{11D7AFAE-7D1D-4F95-A077-9532D6A500AA}">
      <dsp:nvSpPr>
        <dsp:cNvPr id="0" name=""/>
        <dsp:cNvSpPr/>
      </dsp:nvSpPr>
      <dsp:spPr>
        <a:xfrm>
          <a:off x="66936" y="190398"/>
          <a:ext cx="635203" cy="635203"/>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967CAF-11C1-48B5-B8AF-40B8B9D4ACD4}">
      <dsp:nvSpPr>
        <dsp:cNvPr id="0" name=""/>
        <dsp:cNvSpPr/>
      </dsp:nvSpPr>
      <dsp:spPr>
        <a:xfrm>
          <a:off x="748672" y="1015918"/>
          <a:ext cx="5292140" cy="508162"/>
        </a:xfrm>
        <a:prstGeom prst="rect">
          <a:avLst/>
        </a:prstGeom>
        <a:solidFill>
          <a:schemeClr val="accent2">
            <a:hueOff val="-2756182"/>
            <a:satOff val="21748"/>
            <a:lumOff val="-32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8580" rIns="68580" bIns="68580" numCol="1" spcCol="1270" anchor="ctr" anchorCtr="0">
          <a:noAutofit/>
        </a:bodyPr>
        <a:lstStyle/>
        <a:p>
          <a:pPr lvl="0" algn="l" defTabSz="1200150">
            <a:lnSpc>
              <a:spcPct val="90000"/>
            </a:lnSpc>
            <a:spcBef>
              <a:spcPct val="0"/>
            </a:spcBef>
            <a:spcAft>
              <a:spcPct val="35000"/>
            </a:spcAft>
          </a:pPr>
          <a:r>
            <a:rPr lang="en-US" sz="2700" kern="1200" dirty="0" smtClean="0"/>
            <a:t>Shared resources pooling</a:t>
          </a:r>
          <a:endParaRPr lang="en-US" sz="2700" kern="1200" dirty="0"/>
        </a:p>
      </dsp:txBody>
      <dsp:txXfrm>
        <a:off x="748672" y="1015918"/>
        <a:ext cx="5292140" cy="508162"/>
      </dsp:txXfrm>
    </dsp:sp>
    <dsp:sp modelId="{AE6594B4-61E9-4350-A1D9-D0866EB3852B}">
      <dsp:nvSpPr>
        <dsp:cNvPr id="0" name=""/>
        <dsp:cNvSpPr/>
      </dsp:nvSpPr>
      <dsp:spPr>
        <a:xfrm>
          <a:off x="431071" y="952398"/>
          <a:ext cx="635203" cy="635203"/>
        </a:xfrm>
        <a:prstGeom prst="ellipse">
          <a:avLst/>
        </a:prstGeom>
        <a:solidFill>
          <a:schemeClr val="lt1">
            <a:hueOff val="0"/>
            <a:satOff val="0"/>
            <a:lumOff val="0"/>
            <a:alphaOff val="0"/>
          </a:schemeClr>
        </a:solidFill>
        <a:ln w="25400" cap="flat" cmpd="sng" algn="ctr">
          <a:solidFill>
            <a:schemeClr val="accent2">
              <a:hueOff val="-2756182"/>
              <a:satOff val="21748"/>
              <a:lumOff val="-3284"/>
              <a:alphaOff val="0"/>
            </a:schemeClr>
          </a:solidFill>
          <a:prstDash val="solid"/>
        </a:ln>
        <a:effectLst/>
      </dsp:spPr>
      <dsp:style>
        <a:lnRef idx="2">
          <a:scrgbClr r="0" g="0" b="0"/>
        </a:lnRef>
        <a:fillRef idx="1">
          <a:scrgbClr r="0" g="0" b="0"/>
        </a:fillRef>
        <a:effectRef idx="0">
          <a:scrgbClr r="0" g="0" b="0"/>
        </a:effectRef>
        <a:fontRef idx="minor"/>
      </dsp:style>
    </dsp:sp>
    <dsp:sp modelId="{D8178065-2CB2-43AB-B7ED-57180D1851B4}">
      <dsp:nvSpPr>
        <dsp:cNvPr id="0" name=""/>
        <dsp:cNvSpPr/>
      </dsp:nvSpPr>
      <dsp:spPr>
        <a:xfrm>
          <a:off x="860432" y="1777918"/>
          <a:ext cx="5180380" cy="508162"/>
        </a:xfrm>
        <a:prstGeom prst="rect">
          <a:avLst/>
        </a:prstGeom>
        <a:solidFill>
          <a:schemeClr val="accent2">
            <a:hueOff val="-5512365"/>
            <a:satOff val="43496"/>
            <a:lumOff val="-65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8580" rIns="68580" bIns="68580" numCol="1" spcCol="1270" anchor="ctr" anchorCtr="0">
          <a:noAutofit/>
        </a:bodyPr>
        <a:lstStyle/>
        <a:p>
          <a:pPr lvl="0" algn="l" defTabSz="1200150">
            <a:lnSpc>
              <a:spcPct val="90000"/>
            </a:lnSpc>
            <a:spcBef>
              <a:spcPct val="0"/>
            </a:spcBef>
            <a:spcAft>
              <a:spcPct val="35000"/>
            </a:spcAft>
          </a:pPr>
          <a:r>
            <a:rPr lang="en-US" sz="2700" kern="1200" dirty="0" smtClean="0"/>
            <a:t>Rapid bi-directional elasticity</a:t>
          </a:r>
          <a:endParaRPr lang="en-US" sz="2700" kern="1200" dirty="0"/>
        </a:p>
      </dsp:txBody>
      <dsp:txXfrm>
        <a:off x="860432" y="1777918"/>
        <a:ext cx="5180380" cy="508162"/>
      </dsp:txXfrm>
    </dsp:sp>
    <dsp:sp modelId="{729267B3-69A5-4103-9FE4-77CB196E96A9}">
      <dsp:nvSpPr>
        <dsp:cNvPr id="0" name=""/>
        <dsp:cNvSpPr/>
      </dsp:nvSpPr>
      <dsp:spPr>
        <a:xfrm>
          <a:off x="542831" y="1714398"/>
          <a:ext cx="635203" cy="635203"/>
        </a:xfrm>
        <a:prstGeom prst="ellipse">
          <a:avLst/>
        </a:prstGeom>
        <a:solidFill>
          <a:schemeClr val="lt1">
            <a:hueOff val="0"/>
            <a:satOff val="0"/>
            <a:lumOff val="0"/>
            <a:alphaOff val="0"/>
          </a:schemeClr>
        </a:solidFill>
        <a:ln w="25400" cap="flat" cmpd="sng" algn="ctr">
          <a:solidFill>
            <a:schemeClr val="accent2">
              <a:hueOff val="-5512365"/>
              <a:satOff val="43496"/>
              <a:lumOff val="-6569"/>
              <a:alphaOff val="0"/>
            </a:schemeClr>
          </a:solidFill>
          <a:prstDash val="solid"/>
        </a:ln>
        <a:effectLst/>
      </dsp:spPr>
      <dsp:style>
        <a:lnRef idx="2">
          <a:scrgbClr r="0" g="0" b="0"/>
        </a:lnRef>
        <a:fillRef idx="1">
          <a:scrgbClr r="0" g="0" b="0"/>
        </a:fillRef>
        <a:effectRef idx="0">
          <a:scrgbClr r="0" g="0" b="0"/>
        </a:effectRef>
        <a:fontRef idx="minor"/>
      </dsp:style>
    </dsp:sp>
    <dsp:sp modelId="{74DAEE44-2E82-4CB0-9AF3-E187230BD1D3}">
      <dsp:nvSpPr>
        <dsp:cNvPr id="0" name=""/>
        <dsp:cNvSpPr/>
      </dsp:nvSpPr>
      <dsp:spPr>
        <a:xfrm>
          <a:off x="748672" y="2539918"/>
          <a:ext cx="5292140" cy="508162"/>
        </a:xfrm>
        <a:prstGeom prst="rect">
          <a:avLst/>
        </a:prstGeom>
        <a:solidFill>
          <a:schemeClr val="accent2">
            <a:hueOff val="-8268547"/>
            <a:satOff val="65244"/>
            <a:lumOff val="-98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8580" rIns="68580" bIns="68580" numCol="1" spcCol="1270" anchor="ctr" anchorCtr="0">
          <a:noAutofit/>
        </a:bodyPr>
        <a:lstStyle/>
        <a:p>
          <a:pPr lvl="0" algn="l" defTabSz="1200150">
            <a:lnSpc>
              <a:spcPct val="90000"/>
            </a:lnSpc>
            <a:spcBef>
              <a:spcPct val="0"/>
            </a:spcBef>
            <a:spcAft>
              <a:spcPct val="35000"/>
            </a:spcAft>
          </a:pPr>
          <a:r>
            <a:rPr lang="en-US" sz="2700" kern="1200" dirty="0" smtClean="0"/>
            <a:t>Measured service</a:t>
          </a:r>
          <a:endParaRPr lang="en-US" sz="2700" kern="1200" dirty="0"/>
        </a:p>
      </dsp:txBody>
      <dsp:txXfrm>
        <a:off x="748672" y="2539918"/>
        <a:ext cx="5292140" cy="508162"/>
      </dsp:txXfrm>
    </dsp:sp>
    <dsp:sp modelId="{515AEC89-42CB-4144-9589-584BDE16487C}">
      <dsp:nvSpPr>
        <dsp:cNvPr id="0" name=""/>
        <dsp:cNvSpPr/>
      </dsp:nvSpPr>
      <dsp:spPr>
        <a:xfrm>
          <a:off x="431071" y="2476398"/>
          <a:ext cx="635203" cy="635203"/>
        </a:xfrm>
        <a:prstGeom prst="ellipse">
          <a:avLst/>
        </a:prstGeom>
        <a:solidFill>
          <a:schemeClr val="lt1">
            <a:hueOff val="0"/>
            <a:satOff val="0"/>
            <a:lumOff val="0"/>
            <a:alphaOff val="0"/>
          </a:schemeClr>
        </a:solidFill>
        <a:ln w="25400" cap="flat" cmpd="sng" algn="ctr">
          <a:solidFill>
            <a:schemeClr val="accent2">
              <a:hueOff val="-8268547"/>
              <a:satOff val="65244"/>
              <a:lumOff val="-9853"/>
              <a:alphaOff val="0"/>
            </a:schemeClr>
          </a:solidFill>
          <a:prstDash val="solid"/>
        </a:ln>
        <a:effectLst/>
      </dsp:spPr>
      <dsp:style>
        <a:lnRef idx="2">
          <a:scrgbClr r="0" g="0" b="0"/>
        </a:lnRef>
        <a:fillRef idx="1">
          <a:scrgbClr r="0" g="0" b="0"/>
        </a:fillRef>
        <a:effectRef idx="0">
          <a:scrgbClr r="0" g="0" b="0"/>
        </a:effectRef>
        <a:fontRef idx="minor"/>
      </dsp:style>
    </dsp:sp>
    <dsp:sp modelId="{FA4C0668-8995-4AA6-8141-B0AC476C6C29}">
      <dsp:nvSpPr>
        <dsp:cNvPr id="0" name=""/>
        <dsp:cNvSpPr/>
      </dsp:nvSpPr>
      <dsp:spPr>
        <a:xfrm>
          <a:off x="384538" y="3301918"/>
          <a:ext cx="5656275" cy="508162"/>
        </a:xfrm>
        <a:prstGeom prst="rect">
          <a:avLst/>
        </a:prstGeom>
        <a:solidFill>
          <a:schemeClr val="accent2">
            <a:hueOff val="-11024729"/>
            <a:satOff val="86992"/>
            <a:lumOff val="-1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8580" rIns="68580" bIns="68580" numCol="1" spcCol="1270" anchor="ctr" anchorCtr="0">
          <a:noAutofit/>
        </a:bodyPr>
        <a:lstStyle/>
        <a:p>
          <a:pPr lvl="0" algn="l" defTabSz="1200150">
            <a:lnSpc>
              <a:spcPct val="90000"/>
            </a:lnSpc>
            <a:spcBef>
              <a:spcPct val="0"/>
            </a:spcBef>
            <a:spcAft>
              <a:spcPct val="35000"/>
            </a:spcAft>
          </a:pPr>
          <a:r>
            <a:rPr lang="en-US" sz="2700" kern="1200" dirty="0" smtClean="0"/>
            <a:t>Broad network access</a:t>
          </a:r>
          <a:endParaRPr lang="en-US" sz="2700" kern="1200" dirty="0"/>
        </a:p>
      </dsp:txBody>
      <dsp:txXfrm>
        <a:off x="384538" y="3301918"/>
        <a:ext cx="5656275" cy="508162"/>
      </dsp:txXfrm>
    </dsp:sp>
    <dsp:sp modelId="{B9B6986F-15B8-4042-92B7-3219CB2AE168}">
      <dsp:nvSpPr>
        <dsp:cNvPr id="0" name=""/>
        <dsp:cNvSpPr/>
      </dsp:nvSpPr>
      <dsp:spPr>
        <a:xfrm>
          <a:off x="66936" y="3238398"/>
          <a:ext cx="635203" cy="635203"/>
        </a:xfrm>
        <a:prstGeom prst="ellipse">
          <a:avLst/>
        </a:prstGeom>
        <a:solidFill>
          <a:schemeClr val="lt1">
            <a:hueOff val="0"/>
            <a:satOff val="0"/>
            <a:lumOff val="0"/>
            <a:alphaOff val="0"/>
          </a:schemeClr>
        </a:solidFill>
        <a:ln w="25400" cap="flat" cmpd="sng" algn="ctr">
          <a:solidFill>
            <a:schemeClr val="accent2">
              <a:hueOff val="-11024729"/>
              <a:satOff val="86992"/>
              <a:lumOff val="-13137"/>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38C395-0E87-4A42-B315-662F41A51C87}">
      <dsp:nvSpPr>
        <dsp:cNvPr id="0" name=""/>
        <dsp:cNvSpPr/>
      </dsp:nvSpPr>
      <dsp:spPr>
        <a:xfrm>
          <a:off x="3596" y="9585"/>
          <a:ext cx="2548415" cy="920379"/>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0" kern="1200" smtClean="0"/>
            <a:t>Infrastructure as a Service</a:t>
          </a:r>
          <a:endParaRPr lang="en-US" sz="2000" b="0" kern="1200" dirty="0"/>
        </a:p>
      </dsp:txBody>
      <dsp:txXfrm>
        <a:off x="3596" y="9585"/>
        <a:ext cx="2548415" cy="920379"/>
      </dsp:txXfrm>
    </dsp:sp>
    <dsp:sp modelId="{C034F681-641B-4229-AE06-8B27216445AE}">
      <dsp:nvSpPr>
        <dsp:cNvPr id="0" name=""/>
        <dsp:cNvSpPr/>
      </dsp:nvSpPr>
      <dsp:spPr>
        <a:xfrm>
          <a:off x="3596" y="929965"/>
          <a:ext cx="2548415" cy="2547360"/>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t>Provisioning model in which an organization outsources the equipment used to support operations including storage, hardware, services and networking components. </a:t>
          </a:r>
          <a:endParaRPr lang="en-US" sz="1600" kern="1200" dirty="0"/>
        </a:p>
      </dsp:txBody>
      <dsp:txXfrm>
        <a:off x="3596" y="929965"/>
        <a:ext cx="2548415" cy="2547360"/>
      </dsp:txXfrm>
    </dsp:sp>
    <dsp:sp modelId="{81FC482D-F9C6-4FE8-B625-BF7EC7D26A7B}">
      <dsp:nvSpPr>
        <dsp:cNvPr id="0" name=""/>
        <dsp:cNvSpPr/>
      </dsp:nvSpPr>
      <dsp:spPr>
        <a:xfrm>
          <a:off x="2872027" y="9585"/>
          <a:ext cx="2205274" cy="920379"/>
        </a:xfrm>
        <a:prstGeom prst="rect">
          <a:avLst/>
        </a:prstGeom>
        <a:solidFill>
          <a:schemeClr val="accent2">
            <a:hueOff val="-5512365"/>
            <a:satOff val="43496"/>
            <a:lumOff val="-6569"/>
            <a:alphaOff val="0"/>
          </a:schemeClr>
        </a:solidFill>
        <a:ln w="25400" cap="flat" cmpd="sng" algn="ctr">
          <a:solidFill>
            <a:schemeClr val="accent2">
              <a:hueOff val="-5512365"/>
              <a:satOff val="43496"/>
              <a:lumOff val="-656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0" kern="1200" dirty="0" smtClean="0"/>
            <a:t>Platform as a Service</a:t>
          </a:r>
        </a:p>
      </dsp:txBody>
      <dsp:txXfrm>
        <a:off x="2872027" y="9585"/>
        <a:ext cx="2205274" cy="920379"/>
      </dsp:txXfrm>
    </dsp:sp>
    <dsp:sp modelId="{37F571F4-5E75-4B65-A6A2-1F409375DEA5}">
      <dsp:nvSpPr>
        <dsp:cNvPr id="0" name=""/>
        <dsp:cNvSpPr/>
      </dsp:nvSpPr>
      <dsp:spPr>
        <a:xfrm>
          <a:off x="2872027" y="929965"/>
          <a:ext cx="2205274" cy="2547360"/>
        </a:xfrm>
        <a:prstGeom prst="rect">
          <a:avLst/>
        </a:prstGeom>
        <a:solidFill>
          <a:schemeClr val="accent2">
            <a:tint val="40000"/>
            <a:alpha val="90000"/>
            <a:hueOff val="-5890944"/>
            <a:satOff val="40342"/>
            <a:lumOff val="260"/>
            <a:alphaOff val="0"/>
          </a:schemeClr>
        </a:solidFill>
        <a:ln w="25400" cap="flat" cmpd="sng" algn="ctr">
          <a:solidFill>
            <a:schemeClr val="accent2">
              <a:tint val="40000"/>
              <a:alpha val="90000"/>
              <a:hueOff val="-5890944"/>
              <a:satOff val="40342"/>
              <a:lumOff val="2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IN" sz="1600" kern="1200" dirty="0" smtClean="0"/>
            <a:t>Completely managed Cloud computing environment into which you deploy and run your applications</a:t>
          </a:r>
          <a:endParaRPr lang="en-US" sz="1600" kern="1200" dirty="0"/>
        </a:p>
      </dsp:txBody>
      <dsp:txXfrm>
        <a:off x="2872027" y="929965"/>
        <a:ext cx="2205274" cy="2547360"/>
      </dsp:txXfrm>
    </dsp:sp>
    <dsp:sp modelId="{CD7FD49E-C84C-486E-9B12-F57B53E164E9}">
      <dsp:nvSpPr>
        <dsp:cNvPr id="0" name=""/>
        <dsp:cNvSpPr/>
      </dsp:nvSpPr>
      <dsp:spPr>
        <a:xfrm>
          <a:off x="5401551" y="9585"/>
          <a:ext cx="2220000" cy="920379"/>
        </a:xfrm>
        <a:prstGeom prst="rect">
          <a:avLst/>
        </a:prstGeom>
        <a:solidFill>
          <a:schemeClr val="accent2">
            <a:hueOff val="-11024729"/>
            <a:satOff val="86992"/>
            <a:lumOff val="-13137"/>
            <a:alphaOff val="0"/>
          </a:schemeClr>
        </a:solidFill>
        <a:ln w="25400" cap="flat" cmpd="sng" algn="ctr">
          <a:solidFill>
            <a:schemeClr val="accent2">
              <a:hueOff val="-11024729"/>
              <a:satOff val="86992"/>
              <a:lumOff val="-1313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0" kern="1200" smtClean="0"/>
            <a:t>Software as a Service</a:t>
          </a:r>
          <a:endParaRPr lang="en-US" sz="2000" b="0" kern="1200" dirty="0" smtClean="0"/>
        </a:p>
      </dsp:txBody>
      <dsp:txXfrm>
        <a:off x="5401551" y="9585"/>
        <a:ext cx="2220000" cy="920379"/>
      </dsp:txXfrm>
    </dsp:sp>
    <dsp:sp modelId="{663B6DBE-8025-434B-A222-4BE2DB2561CC}">
      <dsp:nvSpPr>
        <dsp:cNvPr id="0" name=""/>
        <dsp:cNvSpPr/>
      </dsp:nvSpPr>
      <dsp:spPr>
        <a:xfrm>
          <a:off x="5401551" y="929965"/>
          <a:ext cx="2220000" cy="2547360"/>
        </a:xfrm>
        <a:prstGeom prst="rect">
          <a:avLst/>
        </a:prstGeom>
        <a:solidFill>
          <a:schemeClr val="accent2">
            <a:tint val="40000"/>
            <a:alpha val="90000"/>
            <a:hueOff val="-11781888"/>
            <a:satOff val="80684"/>
            <a:lumOff val="520"/>
            <a:alphaOff val="0"/>
          </a:schemeClr>
        </a:solidFill>
        <a:ln w="25400" cap="flat" cmpd="sng" algn="ctr">
          <a:solidFill>
            <a:schemeClr val="accent2">
              <a:tint val="40000"/>
              <a:alpha val="90000"/>
              <a:hueOff val="-11781888"/>
              <a:satOff val="80684"/>
              <a:lumOff val="5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IN" sz="1600" kern="1200" dirty="0" smtClean="0"/>
            <a:t>Software distribution model in which applications are hosted by a vendor or service provider and made available to customers over the Internet</a:t>
          </a:r>
          <a:endParaRPr lang="en-US" sz="1600" kern="1200" dirty="0"/>
        </a:p>
      </dsp:txBody>
      <dsp:txXfrm>
        <a:off x="5401551" y="929965"/>
        <a:ext cx="2220000" cy="25473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D64D6-82CA-4A0E-A448-ECB59D4069D1}">
      <dsp:nvSpPr>
        <dsp:cNvPr id="0" name=""/>
        <dsp:cNvSpPr/>
      </dsp:nvSpPr>
      <dsp:spPr>
        <a:xfrm>
          <a:off x="0" y="0"/>
          <a:ext cx="7667296" cy="117032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solidFill>
                <a:schemeClr val="tx1"/>
              </a:solidFill>
            </a:rPr>
            <a:t>IT activities / functions are provided “as a service,” over the Internet.</a:t>
          </a:r>
          <a:endParaRPr lang="en-US" sz="1800" kern="1200" dirty="0" smtClean="0">
            <a:solidFill>
              <a:schemeClr val="tx1"/>
            </a:solidFill>
          </a:endParaRPr>
        </a:p>
        <a:p>
          <a:pPr lvl="0" algn="l" defTabSz="800100">
            <a:lnSpc>
              <a:spcPct val="90000"/>
            </a:lnSpc>
            <a:spcBef>
              <a:spcPct val="0"/>
            </a:spcBef>
            <a:spcAft>
              <a:spcPct val="35000"/>
            </a:spcAft>
          </a:pPr>
          <a:endParaRPr lang="en-US" sz="1800" kern="1200" dirty="0"/>
        </a:p>
      </dsp:txBody>
      <dsp:txXfrm>
        <a:off x="1650491" y="0"/>
        <a:ext cx="6016804" cy="1170321"/>
      </dsp:txXfrm>
    </dsp:sp>
    <dsp:sp modelId="{D22176F6-2DEF-43CA-8CA6-2D0396DEF0DE}">
      <dsp:nvSpPr>
        <dsp:cNvPr id="0" name=""/>
        <dsp:cNvSpPr/>
      </dsp:nvSpPr>
      <dsp:spPr>
        <a:xfrm>
          <a:off x="117032" y="117032"/>
          <a:ext cx="1533459" cy="936256"/>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663C89-5EA3-41D5-8A88-CEEBF5F8A986}">
      <dsp:nvSpPr>
        <dsp:cNvPr id="0" name=""/>
        <dsp:cNvSpPr/>
      </dsp:nvSpPr>
      <dsp:spPr>
        <a:xfrm>
          <a:off x="0" y="1287353"/>
          <a:ext cx="7667296" cy="1170321"/>
        </a:xfrm>
        <a:prstGeom prst="roundRect">
          <a:avLst>
            <a:gd name="adj" fmla="val 10000"/>
          </a:avLst>
        </a:prstGeom>
        <a:solidFill>
          <a:schemeClr val="accent2">
            <a:hueOff val="-3674910"/>
            <a:satOff val="28997"/>
            <a:lumOff val="-43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solidFill>
                <a:schemeClr val="tx1"/>
              </a:solidFill>
            </a:rPr>
            <a:t>IT capabilities provided “as a service,” over an intranet, within enterprise and behind the firewall.</a:t>
          </a:r>
          <a:endParaRPr lang="en-US" sz="1800" kern="1200" dirty="0" smtClean="0">
            <a:solidFill>
              <a:schemeClr val="tx1"/>
            </a:solidFill>
          </a:endParaRPr>
        </a:p>
        <a:p>
          <a:pPr lvl="0" algn="l" defTabSz="800100">
            <a:lnSpc>
              <a:spcPct val="90000"/>
            </a:lnSpc>
            <a:spcBef>
              <a:spcPct val="0"/>
            </a:spcBef>
            <a:spcAft>
              <a:spcPct val="35000"/>
            </a:spcAft>
          </a:pPr>
          <a:endParaRPr lang="en-US" sz="1800" kern="1200" dirty="0"/>
        </a:p>
      </dsp:txBody>
      <dsp:txXfrm>
        <a:off x="1650491" y="1287353"/>
        <a:ext cx="6016804" cy="1170321"/>
      </dsp:txXfrm>
    </dsp:sp>
    <dsp:sp modelId="{55C171A2-2C02-4BD4-A6E3-2949ECE38C98}">
      <dsp:nvSpPr>
        <dsp:cNvPr id="0" name=""/>
        <dsp:cNvSpPr/>
      </dsp:nvSpPr>
      <dsp:spPr>
        <a:xfrm>
          <a:off x="117032" y="1404385"/>
          <a:ext cx="1533459" cy="936256"/>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ADBF6E-9549-4AB8-AA70-77CCBE93A014}">
      <dsp:nvSpPr>
        <dsp:cNvPr id="0" name=""/>
        <dsp:cNvSpPr/>
      </dsp:nvSpPr>
      <dsp:spPr>
        <a:xfrm>
          <a:off x="0" y="2574706"/>
          <a:ext cx="7667296" cy="1170321"/>
        </a:xfrm>
        <a:prstGeom prst="roundRect">
          <a:avLst>
            <a:gd name="adj" fmla="val 10000"/>
          </a:avLst>
        </a:prstGeom>
        <a:solidFill>
          <a:schemeClr val="accent2">
            <a:hueOff val="-7349820"/>
            <a:satOff val="57995"/>
            <a:lumOff val="-87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solidFill>
                <a:schemeClr val="tx1"/>
              </a:solidFill>
            </a:rPr>
            <a:t>Internal and external service delivery methods are integrated.</a:t>
          </a:r>
          <a:endParaRPr lang="en-US" sz="1800" kern="1200" dirty="0" smtClean="0">
            <a:solidFill>
              <a:schemeClr val="tx1"/>
            </a:solidFill>
          </a:endParaRPr>
        </a:p>
        <a:p>
          <a:pPr lvl="0" algn="l" defTabSz="800100">
            <a:lnSpc>
              <a:spcPct val="90000"/>
            </a:lnSpc>
            <a:spcBef>
              <a:spcPct val="0"/>
            </a:spcBef>
            <a:spcAft>
              <a:spcPct val="35000"/>
            </a:spcAft>
          </a:pPr>
          <a:endParaRPr lang="en-US" sz="1800" kern="1200" dirty="0"/>
        </a:p>
      </dsp:txBody>
      <dsp:txXfrm>
        <a:off x="1650491" y="2574706"/>
        <a:ext cx="6016804" cy="1170321"/>
      </dsp:txXfrm>
    </dsp:sp>
    <dsp:sp modelId="{B75341E4-583A-48D9-9C7A-4BC8DD0EA709}">
      <dsp:nvSpPr>
        <dsp:cNvPr id="0" name=""/>
        <dsp:cNvSpPr/>
      </dsp:nvSpPr>
      <dsp:spPr>
        <a:xfrm>
          <a:off x="117032" y="2691738"/>
          <a:ext cx="1533459" cy="93625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E6275C-F13A-484E-A2BC-8D1B8EFD440D}">
      <dsp:nvSpPr>
        <dsp:cNvPr id="0" name=""/>
        <dsp:cNvSpPr/>
      </dsp:nvSpPr>
      <dsp:spPr>
        <a:xfrm>
          <a:off x="0" y="3862059"/>
          <a:ext cx="7667296" cy="1170321"/>
        </a:xfrm>
        <a:prstGeom prst="roundRect">
          <a:avLst>
            <a:gd name="adj" fmla="val 10000"/>
          </a:avLst>
        </a:prstGeom>
        <a:solidFill>
          <a:schemeClr val="accent2">
            <a:hueOff val="-11024729"/>
            <a:satOff val="86992"/>
            <a:lumOff val="-1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solidFill>
                <a:schemeClr val="tx1"/>
              </a:solidFill>
            </a:rPr>
            <a:t>Several organizations with common concerns share a Cloud.</a:t>
          </a:r>
          <a:endParaRPr lang="en-US" sz="1800" kern="1200" dirty="0" smtClean="0">
            <a:solidFill>
              <a:schemeClr val="tx1"/>
            </a:solidFill>
          </a:endParaRPr>
        </a:p>
        <a:p>
          <a:pPr lvl="0" algn="l" defTabSz="800100">
            <a:lnSpc>
              <a:spcPct val="90000"/>
            </a:lnSpc>
            <a:spcBef>
              <a:spcPct val="0"/>
            </a:spcBef>
            <a:spcAft>
              <a:spcPct val="35000"/>
            </a:spcAft>
          </a:pPr>
          <a:endParaRPr lang="en-US" sz="1800" kern="1200" dirty="0"/>
        </a:p>
      </dsp:txBody>
      <dsp:txXfrm>
        <a:off x="1650491" y="3862059"/>
        <a:ext cx="6016804" cy="1170321"/>
      </dsp:txXfrm>
    </dsp:sp>
    <dsp:sp modelId="{A8063EC0-F390-4798-9462-0FA5EB00E9C1}">
      <dsp:nvSpPr>
        <dsp:cNvPr id="0" name=""/>
        <dsp:cNvSpPr/>
      </dsp:nvSpPr>
      <dsp:spPr>
        <a:xfrm>
          <a:off x="117032" y="3979091"/>
          <a:ext cx="1533459" cy="936256"/>
        </a:xfrm>
        <a:prstGeom prst="roundRect">
          <a:avLst>
            <a:gd name="adj" fmla="val 10000"/>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904356-293A-4F18-9DC5-D18B5A8D5D58}">
      <dsp:nvSpPr>
        <dsp:cNvPr id="0" name=""/>
        <dsp:cNvSpPr/>
      </dsp:nvSpPr>
      <dsp:spPr>
        <a:xfrm>
          <a:off x="0" y="305079"/>
          <a:ext cx="3855058" cy="4536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7C1305D-C22D-44E4-88B0-E3578A0036CB}">
      <dsp:nvSpPr>
        <dsp:cNvPr id="0" name=""/>
        <dsp:cNvSpPr/>
      </dsp:nvSpPr>
      <dsp:spPr>
        <a:xfrm>
          <a:off x="192752" y="39399"/>
          <a:ext cx="2698541" cy="53136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998" tIns="0" rIns="101998" bIns="0" numCol="1" spcCol="1270" anchor="ctr" anchorCtr="0">
          <a:noAutofit/>
        </a:bodyPr>
        <a:lstStyle/>
        <a:p>
          <a:pPr lvl="0" algn="l" defTabSz="711200">
            <a:lnSpc>
              <a:spcPct val="90000"/>
            </a:lnSpc>
            <a:spcBef>
              <a:spcPct val="0"/>
            </a:spcBef>
            <a:spcAft>
              <a:spcPct val="35000"/>
            </a:spcAft>
          </a:pPr>
          <a:r>
            <a:rPr lang="en-IN" sz="1600" kern="1200" dirty="0" smtClean="0"/>
            <a:t>Physical security</a:t>
          </a:r>
          <a:endParaRPr lang="en-US" sz="1600" kern="1200" dirty="0"/>
        </a:p>
      </dsp:txBody>
      <dsp:txXfrm>
        <a:off x="218691" y="65338"/>
        <a:ext cx="2646663" cy="479482"/>
      </dsp:txXfrm>
    </dsp:sp>
    <dsp:sp modelId="{AB4095F7-A134-477C-B4A3-6AC2B647133E}">
      <dsp:nvSpPr>
        <dsp:cNvPr id="0" name=""/>
        <dsp:cNvSpPr/>
      </dsp:nvSpPr>
      <dsp:spPr>
        <a:xfrm>
          <a:off x="0" y="1121559"/>
          <a:ext cx="3855058" cy="4536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4A1FDFD-BA9F-4EE8-84D7-5ED2A84F32A5}">
      <dsp:nvSpPr>
        <dsp:cNvPr id="0" name=""/>
        <dsp:cNvSpPr/>
      </dsp:nvSpPr>
      <dsp:spPr>
        <a:xfrm>
          <a:off x="192752" y="855879"/>
          <a:ext cx="2698541" cy="53136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998" tIns="0" rIns="101998" bIns="0" numCol="1" spcCol="1270" anchor="ctr" anchorCtr="0">
          <a:noAutofit/>
        </a:bodyPr>
        <a:lstStyle/>
        <a:p>
          <a:pPr lvl="0" algn="l" defTabSz="711200">
            <a:lnSpc>
              <a:spcPct val="90000"/>
            </a:lnSpc>
            <a:spcBef>
              <a:spcPct val="0"/>
            </a:spcBef>
            <a:spcAft>
              <a:spcPct val="35000"/>
            </a:spcAft>
          </a:pPr>
          <a:r>
            <a:rPr lang="en-US" sz="1600" kern="1200" dirty="0" smtClean="0"/>
            <a:t>Physical infrastructure </a:t>
          </a:r>
        </a:p>
      </dsp:txBody>
      <dsp:txXfrm>
        <a:off x="218691" y="881818"/>
        <a:ext cx="2646663" cy="479482"/>
      </dsp:txXfrm>
    </dsp:sp>
    <dsp:sp modelId="{319368C8-AB36-4572-8330-E2DFFE77F980}">
      <dsp:nvSpPr>
        <dsp:cNvPr id="0" name=""/>
        <dsp:cNvSpPr/>
      </dsp:nvSpPr>
      <dsp:spPr>
        <a:xfrm>
          <a:off x="0" y="1938039"/>
          <a:ext cx="3855058" cy="4536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89EFE27-2D3B-43F2-9E13-74ABA91FF946}">
      <dsp:nvSpPr>
        <dsp:cNvPr id="0" name=""/>
        <dsp:cNvSpPr/>
      </dsp:nvSpPr>
      <dsp:spPr>
        <a:xfrm>
          <a:off x="192752" y="1672359"/>
          <a:ext cx="2698541" cy="53136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998" tIns="0" rIns="101998" bIns="0" numCol="1" spcCol="1270" anchor="ctr" anchorCtr="0">
          <a:noAutofit/>
        </a:bodyPr>
        <a:lstStyle/>
        <a:p>
          <a:pPr lvl="0" algn="l" defTabSz="711200">
            <a:lnSpc>
              <a:spcPct val="90000"/>
            </a:lnSpc>
            <a:spcBef>
              <a:spcPct val="0"/>
            </a:spcBef>
            <a:spcAft>
              <a:spcPct val="35000"/>
            </a:spcAft>
          </a:pPr>
          <a:r>
            <a:rPr lang="en-IN" sz="1600" kern="1200" dirty="0" smtClean="0"/>
            <a:t>Network infrastructure </a:t>
          </a:r>
          <a:endParaRPr lang="en-US" sz="1600" kern="1200" dirty="0"/>
        </a:p>
      </dsp:txBody>
      <dsp:txXfrm>
        <a:off x="218691" y="1698298"/>
        <a:ext cx="2646663" cy="479482"/>
      </dsp:txXfrm>
    </dsp:sp>
    <dsp:sp modelId="{13D4FE33-6DCD-4D96-B443-350B4A439DB8}">
      <dsp:nvSpPr>
        <dsp:cNvPr id="0" name=""/>
        <dsp:cNvSpPr/>
      </dsp:nvSpPr>
      <dsp:spPr>
        <a:xfrm>
          <a:off x="0" y="2754520"/>
          <a:ext cx="3855058" cy="4536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B21451F-CDF5-4343-8206-B835B855F240}">
      <dsp:nvSpPr>
        <dsp:cNvPr id="0" name=""/>
        <dsp:cNvSpPr/>
      </dsp:nvSpPr>
      <dsp:spPr>
        <a:xfrm>
          <a:off x="192752" y="2488839"/>
          <a:ext cx="2698541" cy="53136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998" tIns="0" rIns="101998" bIns="0" numCol="1" spcCol="1270" anchor="ctr" anchorCtr="0">
          <a:noAutofit/>
        </a:bodyPr>
        <a:lstStyle/>
        <a:p>
          <a:pPr lvl="0" algn="l" defTabSz="711200">
            <a:lnSpc>
              <a:spcPct val="90000"/>
            </a:lnSpc>
            <a:spcBef>
              <a:spcPct val="0"/>
            </a:spcBef>
            <a:spcAft>
              <a:spcPct val="35000"/>
            </a:spcAft>
          </a:pPr>
          <a:r>
            <a:rPr lang="en-IN" sz="1600" kern="1200" dirty="0" smtClean="0"/>
            <a:t>Virtualization infrastructure </a:t>
          </a:r>
          <a:endParaRPr lang="en-US" sz="1600" kern="1200" dirty="0"/>
        </a:p>
      </dsp:txBody>
      <dsp:txXfrm>
        <a:off x="218691" y="2514778"/>
        <a:ext cx="2646663" cy="479482"/>
      </dsp:txXfrm>
    </dsp:sp>
    <dsp:sp modelId="{C6B56131-449F-437A-9D35-9ECB46D34B62}">
      <dsp:nvSpPr>
        <dsp:cNvPr id="0" name=""/>
        <dsp:cNvSpPr/>
      </dsp:nvSpPr>
      <dsp:spPr>
        <a:xfrm>
          <a:off x="0" y="3571000"/>
          <a:ext cx="3855058" cy="4536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244CBFE-B82B-462A-828E-A9BA8E7C654A}">
      <dsp:nvSpPr>
        <dsp:cNvPr id="0" name=""/>
        <dsp:cNvSpPr/>
      </dsp:nvSpPr>
      <dsp:spPr>
        <a:xfrm>
          <a:off x="192752" y="3305320"/>
          <a:ext cx="2698541" cy="53136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998" tIns="0" rIns="101998" bIns="0" numCol="1" spcCol="1270" anchor="ctr" anchorCtr="0">
          <a:noAutofit/>
        </a:bodyPr>
        <a:lstStyle/>
        <a:p>
          <a:pPr lvl="0" algn="l" defTabSz="622300">
            <a:lnSpc>
              <a:spcPct val="90000"/>
            </a:lnSpc>
            <a:spcBef>
              <a:spcPct val="0"/>
            </a:spcBef>
            <a:spcAft>
              <a:spcPct val="35000"/>
            </a:spcAft>
          </a:pPr>
          <a:r>
            <a:rPr lang="en-IN" sz="1400" kern="1200" dirty="0" smtClean="0"/>
            <a:t>Third-Party attestations, reports, and certifications for the above </a:t>
          </a:r>
          <a:endParaRPr lang="en-US" sz="1400" kern="1200" dirty="0"/>
        </a:p>
      </dsp:txBody>
      <dsp:txXfrm>
        <a:off x="218691" y="3331259"/>
        <a:ext cx="2646663" cy="4794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83E211-F7A7-4317-892B-28769BDE5747}" type="datetimeFigureOut">
              <a:rPr lang="en-US" smtClean="0"/>
              <a:pPr/>
              <a:t>12/5/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3A218D-F311-4799-90C5-974E162849B4}" type="slidenum">
              <a:rPr lang="en-US" smtClean="0"/>
              <a:pPr/>
              <a:t>‹#›</a:t>
            </a:fld>
            <a:endParaRPr lang="en-US" dirty="0"/>
          </a:p>
        </p:txBody>
      </p:sp>
    </p:spTree>
    <p:extLst>
      <p:ext uri="{BB962C8B-B14F-4D97-AF65-F5344CB8AC3E}">
        <p14:creationId xmlns:p14="http://schemas.microsoft.com/office/powerpoint/2010/main" val="3409890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portal.etsi.org/NFV/NFV_White_Paper.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portal.etsi.org/NFV/NFV_White_Paper.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portal.etsi.org/NFV/NFV_White_Paper.pdf"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3A218D-F311-4799-90C5-974E162849B4}" type="slidenum">
              <a:rPr lang="en-US" smtClean="0"/>
              <a:pPr/>
              <a:t>1</a:t>
            </a:fld>
            <a:endParaRPr lang="en-US" dirty="0"/>
          </a:p>
        </p:txBody>
      </p:sp>
    </p:spTree>
    <p:extLst>
      <p:ext uri="{BB962C8B-B14F-4D97-AF65-F5344CB8AC3E}">
        <p14:creationId xmlns:p14="http://schemas.microsoft.com/office/powerpoint/2010/main" val="1044234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20</a:t>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22</a:t>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7811"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smtClean="0"/>
          </a:p>
          <a:p>
            <a:pPr>
              <a:spcBef>
                <a:spcPct val="0"/>
              </a:spcBef>
            </a:pPr>
            <a:r>
              <a:rPr lang="en-US" altLang="en-US" smtClean="0"/>
              <a:t>Source: Network Functions Virtualisation – Introductory White Paper, </a:t>
            </a:r>
            <a:r>
              <a:rPr lang="en-US" altLang="en-US" smtClean="0">
                <a:hlinkClick r:id="rId3"/>
              </a:rPr>
              <a:t>http://portal.etsi.org/NFV/NFV_White_Paper.pdf</a:t>
            </a:r>
            <a:endParaRPr lang="en-US" altLang="en-US" smtClean="0"/>
          </a:p>
          <a:p>
            <a:pPr>
              <a:spcBef>
                <a:spcPct val="0"/>
              </a:spcBef>
            </a:pPr>
            <a:endParaRPr lang="en-US" altLang="en-US" smtClean="0"/>
          </a:p>
        </p:txBody>
      </p:sp>
      <p:sp>
        <p:nvSpPr>
          <p:cNvPr id="247812" name="Espaço Reservado para Número de Slid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37EEACE8-BA87-4379-BEB6-2DFE522F71D6}" type="slidenum">
              <a:rPr lang="en-US" altLang="en-US" smtClean="0">
                <a:latin typeface="Arial" pitchFamily="34" charset="0"/>
                <a:cs typeface="Arial" pitchFamily="34" charset="0"/>
              </a:rPr>
              <a:pPr eaLnBrk="1" fontAlgn="base" hangingPunct="1">
                <a:spcBef>
                  <a:spcPct val="0"/>
                </a:spcBef>
                <a:spcAft>
                  <a:spcPct val="0"/>
                </a:spcAft>
              </a:pPr>
              <a:t>30</a:t>
            </a:fld>
            <a:endParaRPr lang="en-US" altLang="en-US" smtClean="0">
              <a:latin typeface="Arial" pitchFamily="34" charset="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8835"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smtClean="0"/>
          </a:p>
          <a:p>
            <a:pPr>
              <a:spcBef>
                <a:spcPct val="0"/>
              </a:spcBef>
            </a:pPr>
            <a:r>
              <a:rPr lang="en-US" altLang="en-US" smtClean="0"/>
              <a:t>Source: Network Functions Virtualisation – Introductory White Paper, </a:t>
            </a:r>
            <a:r>
              <a:rPr lang="en-US" altLang="en-US" smtClean="0">
                <a:hlinkClick r:id="rId3"/>
              </a:rPr>
              <a:t>http://portal.etsi.org/NFV/NFV_White_Paper.pdf</a:t>
            </a:r>
            <a:endParaRPr lang="en-US" altLang="en-US" smtClean="0"/>
          </a:p>
          <a:p>
            <a:pPr>
              <a:spcBef>
                <a:spcPct val="0"/>
              </a:spcBef>
            </a:pPr>
            <a:endParaRPr lang="en-US" altLang="en-US" smtClean="0"/>
          </a:p>
        </p:txBody>
      </p:sp>
      <p:sp>
        <p:nvSpPr>
          <p:cNvPr id="248836" name="Espaço Reservado para Número de Slid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AFB7280D-60EE-442B-B2A6-3D16F2AFC778}" type="slidenum">
              <a:rPr lang="en-US" altLang="en-US" smtClean="0">
                <a:latin typeface="Arial" pitchFamily="34" charset="0"/>
                <a:cs typeface="Arial" pitchFamily="34" charset="0"/>
              </a:rPr>
              <a:pPr eaLnBrk="1" fontAlgn="base" hangingPunct="1">
                <a:spcBef>
                  <a:spcPct val="0"/>
                </a:spcBef>
                <a:spcAft>
                  <a:spcPct val="0"/>
                </a:spcAft>
              </a:pPr>
              <a:t>31</a:t>
            </a:fld>
            <a:endParaRPr lang="en-US" altLang="en-US" smtClean="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9859"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smtClean="0"/>
          </a:p>
          <a:p>
            <a:pPr>
              <a:spcBef>
                <a:spcPct val="0"/>
              </a:spcBef>
            </a:pPr>
            <a:r>
              <a:rPr lang="en-US" altLang="en-US" smtClean="0"/>
              <a:t>Source: Network Functions Virtualisation – Introductory White Paper, </a:t>
            </a:r>
            <a:r>
              <a:rPr lang="en-US" altLang="en-US" smtClean="0">
                <a:hlinkClick r:id="rId3"/>
              </a:rPr>
              <a:t>http://portal.etsi.org/NFV/NFV_White_Paper.pdf</a:t>
            </a:r>
            <a:endParaRPr lang="en-US" altLang="en-US" smtClean="0"/>
          </a:p>
          <a:p>
            <a:pPr>
              <a:spcBef>
                <a:spcPct val="0"/>
              </a:spcBef>
            </a:pPr>
            <a:endParaRPr lang="en-US" altLang="en-US" smtClean="0"/>
          </a:p>
        </p:txBody>
      </p:sp>
      <p:sp>
        <p:nvSpPr>
          <p:cNvPr id="249860" name="Espaço Reservado para Número de Slid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B7673F4A-B9F8-4404-AF96-39660D92685F}" type="slidenum">
              <a:rPr lang="en-US" altLang="en-US" smtClean="0">
                <a:latin typeface="Arial" pitchFamily="34" charset="0"/>
                <a:cs typeface="Arial" pitchFamily="34" charset="0"/>
              </a:rPr>
              <a:pPr eaLnBrk="1" fontAlgn="base" hangingPunct="1">
                <a:spcBef>
                  <a:spcPct val="0"/>
                </a:spcBef>
                <a:spcAft>
                  <a:spcPct val="0"/>
                </a:spcAft>
              </a:pPr>
              <a:t>32</a:t>
            </a:fld>
            <a:endParaRPr lang="en-US" altLang="en-US" smtClean="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IN" dirty="0" smtClean="0">
                <a:effectLst/>
              </a:rPr>
              <a:t>Identity and access management (</a:t>
            </a:r>
            <a:r>
              <a:rPr lang="en-IN" b="1" dirty="0" smtClean="0">
                <a:effectLst/>
              </a:rPr>
              <a:t>IAM</a:t>
            </a:r>
            <a:r>
              <a:rPr lang="en-IN" dirty="0" smtClean="0">
                <a:effectLst/>
              </a:rPr>
              <a:t>) is the security discipline that enables the right individuals to access the right resources at the right times for the right reasons.</a:t>
            </a:r>
            <a:endParaRPr lang="en-IN"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35</a:t>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36</a:t>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IN" b="0" dirty="0" smtClean="0"/>
              <a:t>On the Internet, a bastion host is the only host computer that a company allows to be addressed directly from the public network and that is designed to screen the rest of its network from security exposure.</a:t>
            </a:r>
            <a:endParaRPr lang="en-US" b="0"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37</a:t>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5F916A7-A8BB-46D4-8425-B24B2FD5CB28}" type="slidenum">
              <a:rPr lang="en-US"/>
              <a:pPr fontAlgn="base">
                <a:spcBef>
                  <a:spcPct val="0"/>
                </a:spcBef>
                <a:spcAft>
                  <a:spcPct val="0"/>
                </a:spcAft>
              </a:pPr>
              <a:t>45</a:t>
            </a:fld>
            <a:endParaRPr lang="en-US" dirty="0"/>
          </a:p>
        </p:txBody>
      </p:sp>
    </p:spTree>
    <p:extLst>
      <p:ext uri="{BB962C8B-B14F-4D97-AF65-F5344CB8AC3E}">
        <p14:creationId xmlns:p14="http://schemas.microsoft.com/office/powerpoint/2010/main" val="34291495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B326A4C1-924A-45AA-8448-6600990486B4}" type="slidenum">
              <a:rPr lang="en-US" smtClean="0"/>
              <a:pPr>
                <a:defRPr/>
              </a:pPr>
              <a:t>48</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2</a:t>
            </a:fld>
            <a:endParaRPr lang="en-US" dirty="0" smtClean="0">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endParaRPr lang="en-IN" dirty="0" smtClean="0"/>
          </a:p>
          <a:p>
            <a:pPr lvl="1">
              <a:defRPr/>
            </a:pPr>
            <a:r>
              <a:rPr lang="en-US" dirty="0" smtClean="0"/>
              <a:t>(</a:t>
            </a:r>
            <a:r>
              <a:rPr lang="en-US" dirty="0" err="1" smtClean="0"/>
              <a:t>StasS</a:t>
            </a:r>
            <a:r>
              <a:rPr lang="en-US" dirty="0" smtClean="0"/>
              <a:t>, Verticalised solutions, MAC (Cast Iron, RSA)) AOB, Public cloud access, Lab Enablement, training enablement</a:t>
            </a:r>
            <a:endParaRPr lang="en-IN" dirty="0" smtClean="0"/>
          </a:p>
          <a:p>
            <a:pPr marL="228600" indent="-228600">
              <a:buFontTx/>
              <a:buAutoNum type="arabicPeriod"/>
              <a:defRPr/>
            </a:pPr>
            <a:endParaRPr lang="en-US" dirty="0" smtClean="0"/>
          </a:p>
        </p:txBody>
      </p:sp>
      <p:sp>
        <p:nvSpPr>
          <p:cNvPr id="4" name="Slide Number Placeholder 3"/>
          <p:cNvSpPr>
            <a:spLocks noGrp="1"/>
          </p:cNvSpPr>
          <p:nvPr>
            <p:ph type="sldNum" sz="quarter" idx="5"/>
          </p:nvPr>
        </p:nvSpPr>
        <p:spPr/>
        <p:txBody>
          <a:bodyPr/>
          <a:lstStyle/>
          <a:p>
            <a:pPr>
              <a:defRPr/>
            </a:pPr>
            <a:fld id="{964E6134-0463-4043-8E78-7E64222E0381}" type="slidenum">
              <a:rPr lang="en-US" smtClean="0"/>
              <a:pPr>
                <a:defRPr/>
              </a:pPr>
              <a:t>49</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51</a:t>
            </a:fld>
            <a:endParaRPr lang="en-US" smtClean="0">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3A218D-F311-4799-90C5-974E162849B4}" type="slidenum">
              <a:rPr lang="en-US" smtClean="0"/>
              <a:pPr/>
              <a:t>52</a:t>
            </a:fld>
            <a:endParaRPr lang="en-US" dirty="0"/>
          </a:p>
        </p:txBody>
      </p:sp>
    </p:spTree>
    <p:extLst>
      <p:ext uri="{BB962C8B-B14F-4D97-AF65-F5344CB8AC3E}">
        <p14:creationId xmlns:p14="http://schemas.microsoft.com/office/powerpoint/2010/main" val="3505669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tart with running the video: “Selling Cloud”. Participant can view other</a:t>
            </a:r>
            <a:r>
              <a:rPr lang="en-US" baseline="0" dirty="0" smtClean="0"/>
              <a:t> two videos later, which explains virtualization and Cloud Service model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 this slide</a:t>
            </a:r>
            <a:r>
              <a:rPr lang="en-US" baseline="0" dirty="0" smtClean="0"/>
              <a:t> Trainer starts this session by running the video “Selling Cloud” and then takes</a:t>
            </a:r>
            <a:r>
              <a:rPr lang="en-US" dirty="0" smtClean="0"/>
              <a:t> views of the participants on what they know about cloud…</a:t>
            </a:r>
          </a:p>
          <a:p>
            <a:endParaRPr lang="en-US" dirty="0"/>
          </a:p>
        </p:txBody>
      </p:sp>
      <p:sp>
        <p:nvSpPr>
          <p:cNvPr id="4" name="Slide Number Placeholder 3"/>
          <p:cNvSpPr>
            <a:spLocks noGrp="1"/>
          </p:cNvSpPr>
          <p:nvPr>
            <p:ph type="sldNum" sz="quarter" idx="10"/>
          </p:nvPr>
        </p:nvSpPr>
        <p:spPr/>
        <p:txBody>
          <a:bodyPr/>
          <a:lstStyle/>
          <a:p>
            <a:fld id="{063A218D-F311-4799-90C5-974E162849B4}" type="slidenum">
              <a:rPr lang="en-US" smtClean="0"/>
              <a:pPr/>
              <a:t>3</a:t>
            </a:fld>
            <a:endParaRPr lang="en-US" dirty="0"/>
          </a:p>
        </p:txBody>
      </p:sp>
    </p:spTree>
    <p:extLst>
      <p:ext uri="{BB962C8B-B14F-4D97-AF65-F5344CB8AC3E}">
        <p14:creationId xmlns:p14="http://schemas.microsoft.com/office/powerpoint/2010/main" val="2762498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IN"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6</a:t>
            </a:fld>
            <a:endParaRPr lang="en-US" dirty="0"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i="0" kern="1200" dirty="0" smtClean="0">
                <a:solidFill>
                  <a:schemeClr val="tx1"/>
                </a:solidFill>
                <a:effectLst/>
                <a:latin typeface="+mn-lt"/>
                <a:ea typeface="+mn-ea"/>
                <a:cs typeface="+mn-cs"/>
              </a:rPr>
              <a:t>‘Broad network access’</a:t>
            </a:r>
            <a:r>
              <a:rPr lang="en-IN" sz="1200" b="0" i="0" kern="1200" dirty="0" smtClean="0">
                <a:solidFill>
                  <a:schemeClr val="tx1"/>
                </a:solidFill>
                <a:effectLst/>
                <a:latin typeface="+mn-lt"/>
                <a:ea typeface="+mn-ea"/>
                <a:cs typeface="+mn-cs"/>
              </a:rPr>
              <a:t> implies widespread, heterogeneous network accessibility for thin, thick, mobile and other commonly used compute mediums.</a:t>
            </a:r>
          </a:p>
          <a:p>
            <a:pPr marL="0" marR="0" indent="0" algn="l" defTabSz="914400" rtl="0" eaLnBrk="1" fontAlgn="auto" latinLnBrk="0" hangingPunct="1">
              <a:lnSpc>
                <a:spcPct val="100000"/>
              </a:lnSpc>
              <a:spcBef>
                <a:spcPts val="0"/>
              </a:spcBef>
              <a:spcAft>
                <a:spcPts val="0"/>
              </a:spcAft>
              <a:buClrTx/>
              <a:buSzTx/>
              <a:buFontTx/>
              <a:buNone/>
              <a:tabLst/>
              <a:defRPr/>
            </a:pPr>
            <a:r>
              <a:rPr lang="en-IN" sz="1200" b="1" i="0" kern="1200" dirty="0" smtClean="0">
                <a:solidFill>
                  <a:schemeClr val="tx1"/>
                </a:solidFill>
                <a:effectLst/>
                <a:latin typeface="+mn-lt"/>
                <a:ea typeface="+mn-ea"/>
                <a:cs typeface="+mn-cs"/>
              </a:rPr>
              <a:t>Broad network access </a:t>
            </a:r>
            <a:r>
              <a:rPr lang="en-IN" sz="1200" b="0" i="0" kern="1200" dirty="0" smtClean="0">
                <a:solidFill>
                  <a:schemeClr val="tx1"/>
                </a:solidFill>
                <a:effectLst/>
                <a:latin typeface="+mn-lt"/>
                <a:ea typeface="+mn-ea"/>
                <a:cs typeface="+mn-cs"/>
              </a:rPr>
              <a:t>includes private clouds that operate within a company’s firewall, public clouds, or a hybrid deployment.</a:t>
            </a:r>
            <a:endParaRPr lang="en-IN" dirty="0" smtClean="0"/>
          </a:p>
          <a:p>
            <a:pPr eaLnBrk="1" hangingPunct="1">
              <a:spcBef>
                <a:spcPct val="0"/>
              </a:spcBef>
            </a:pPr>
            <a:endParaRPr lang="en-IN" dirty="0"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590587-A305-415C-9C9F-191844E0B725}" type="slidenum">
              <a:rPr lang="en-US" smtClean="0">
                <a:solidFill>
                  <a:srgbClr val="000000"/>
                </a:solidFill>
              </a:rPr>
              <a:pPr fontAlgn="base">
                <a:spcBef>
                  <a:spcPct val="0"/>
                </a:spcBef>
                <a:spcAft>
                  <a:spcPct val="0"/>
                </a:spcAft>
                <a:defRPr/>
              </a:pPr>
              <a:t>7</a:t>
            </a:fld>
            <a:endParaRPr lang="en-US" dirty="0"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b="1" dirty="0" smtClean="0"/>
              <a:t>No Need to design</a:t>
            </a:r>
            <a:r>
              <a:rPr lang="en-US" dirty="0" smtClean="0"/>
              <a:t>…: This is in case of an </a:t>
            </a:r>
            <a:r>
              <a:rPr lang="en-US" dirty="0" err="1" smtClean="0"/>
              <a:t>SaaS</a:t>
            </a:r>
            <a:r>
              <a:rPr lang="en-US" dirty="0" smtClean="0"/>
              <a:t> Application, where we just have to use it and pay for the usage</a:t>
            </a:r>
          </a:p>
          <a:p>
            <a:pPr marL="171450" indent="-171450">
              <a:buFont typeface="Arial" charset="0"/>
              <a:buChar char="•"/>
            </a:pPr>
            <a:r>
              <a:rPr lang="en-US" b="1" dirty="0" smtClean="0"/>
              <a:t>Provision &amp; Terminate</a:t>
            </a:r>
            <a:r>
              <a:rPr lang="en-US" dirty="0" smtClean="0"/>
              <a:t>…: This saves hassle of Desktop Purchase, they getting Obsolete, replacing those desktop, … Example: </a:t>
            </a:r>
            <a:r>
              <a:rPr lang="en-US" dirty="0" err="1" smtClean="0"/>
              <a:t>WaaS</a:t>
            </a:r>
            <a:endParaRPr lang="en-US" dirty="0" smtClean="0"/>
          </a:p>
          <a:p>
            <a:pPr marL="171450" indent="-171450">
              <a:buFont typeface="Arial" charset="0"/>
              <a:buChar char="•"/>
            </a:pPr>
            <a:r>
              <a:rPr lang="en-US" b="1" dirty="0" smtClean="0"/>
              <a:t>Pay Only For</a:t>
            </a:r>
            <a:r>
              <a:rPr lang="en-US" dirty="0" smtClean="0"/>
              <a:t>: If I have to run a campaign for a week in every quarter, I better use </a:t>
            </a:r>
            <a:r>
              <a:rPr lang="en-US" dirty="0" err="1" smtClean="0"/>
              <a:t>SaaS</a:t>
            </a:r>
            <a:r>
              <a:rPr lang="en-US" dirty="0" smtClean="0"/>
              <a:t> model</a:t>
            </a:r>
            <a:r>
              <a:rPr lang="en-US" baseline="0" dirty="0" smtClean="0"/>
              <a:t> and save on Time, Money, efforts…</a:t>
            </a:r>
            <a:endParaRPr lang="en-US" dirty="0"/>
          </a:p>
        </p:txBody>
      </p:sp>
      <p:sp>
        <p:nvSpPr>
          <p:cNvPr id="4" name="Slide Number Placeholder 3"/>
          <p:cNvSpPr>
            <a:spLocks noGrp="1"/>
          </p:cNvSpPr>
          <p:nvPr>
            <p:ph type="sldNum" sz="quarter" idx="10"/>
          </p:nvPr>
        </p:nvSpPr>
        <p:spPr/>
        <p:txBody>
          <a:bodyPr/>
          <a:lstStyle/>
          <a:p>
            <a:fld id="{063A218D-F311-4799-90C5-974E162849B4}"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614955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Ring 0 is the level with the most privileges and interacts most directly with the physical hardware such as the CPU and memory.</a:t>
            </a:r>
          </a:p>
          <a:p>
            <a:endParaRPr lang="en-IN" dirty="0"/>
          </a:p>
        </p:txBody>
      </p:sp>
      <p:sp>
        <p:nvSpPr>
          <p:cNvPr id="4" name="Slide Number Placeholder 3"/>
          <p:cNvSpPr>
            <a:spLocks noGrp="1"/>
          </p:cNvSpPr>
          <p:nvPr>
            <p:ph type="sldNum" sz="quarter" idx="10"/>
          </p:nvPr>
        </p:nvSpPr>
        <p:spPr/>
        <p:txBody>
          <a:bodyPr/>
          <a:lstStyle/>
          <a:p>
            <a:fld id="{063A218D-F311-4799-90C5-974E162849B4}" type="slidenum">
              <a:rPr lang="en-US" smtClean="0"/>
              <a:pPr/>
              <a:t>15</a:t>
            </a:fld>
            <a:endParaRPr lang="en-US" dirty="0"/>
          </a:p>
        </p:txBody>
      </p:sp>
    </p:spTree>
    <p:extLst>
      <p:ext uri="{BB962C8B-B14F-4D97-AF65-F5344CB8AC3E}">
        <p14:creationId xmlns:p14="http://schemas.microsoft.com/office/powerpoint/2010/main" val="3843901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Traditionally we are aware of Application running on O/S installed on a PC</a:t>
            </a:r>
            <a:r>
              <a:rPr lang="en-IN" baseline="0" dirty="0" smtClean="0"/>
              <a:t> / Server. The limitation is that we cannot run two application needing different environment on the same PC . Virtualization broke that </a:t>
            </a:r>
            <a:r>
              <a:rPr lang="en-IN" baseline="0" dirty="0" err="1" smtClean="0"/>
              <a:t>limitaion</a:t>
            </a:r>
            <a:r>
              <a:rPr lang="en-IN" baseline="0" dirty="0" smtClean="0"/>
              <a:t>.</a:t>
            </a:r>
          </a:p>
        </p:txBody>
      </p:sp>
      <p:sp>
        <p:nvSpPr>
          <p:cNvPr id="4" name="Slide Number Placeholder 3"/>
          <p:cNvSpPr>
            <a:spLocks noGrp="1"/>
          </p:cNvSpPr>
          <p:nvPr>
            <p:ph type="sldNum" sz="quarter" idx="10"/>
          </p:nvPr>
        </p:nvSpPr>
        <p:spPr/>
        <p:txBody>
          <a:bodyPr/>
          <a:lstStyle/>
          <a:p>
            <a:fld id="{063A218D-F311-4799-90C5-974E162849B4}"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843901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3A218D-F311-4799-90C5-974E162849B4}"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223321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7" name="Picture 26" descr="ridge4.png"/>
          <p:cNvPicPr>
            <a:picLocks noChangeAspect="1"/>
          </p:cNvPicPr>
          <p:nvPr userDrawn="1"/>
        </p:nvPicPr>
        <p:blipFill>
          <a:blip r:embed="rId2"/>
          <a:stretch>
            <a:fillRect/>
          </a:stretch>
        </p:blipFill>
        <p:spPr bwMode="ltGray">
          <a:xfrm>
            <a:off x="802" y="0"/>
            <a:ext cx="3968824" cy="1443209"/>
          </a:xfrm>
          <a:prstGeom prst="rect">
            <a:avLst/>
          </a:prstGeom>
        </p:spPr>
      </p:pic>
      <p:sp>
        <p:nvSpPr>
          <p:cNvPr id="10" name="Slide Number Placeholder 5"/>
          <p:cNvSpPr txBox="1">
            <a:spLocks/>
          </p:cNvSpPr>
          <p:nvPr userDrawn="1"/>
        </p:nvSpPr>
        <p:spPr bwMode="auto">
          <a:xfrm>
            <a:off x="8822457" y="6614013"/>
            <a:ext cx="157094" cy="153888"/>
          </a:xfrm>
          <a:prstGeom prst="rect">
            <a:avLst/>
          </a:prstGeom>
          <a:noFill/>
          <a:ln w="9525">
            <a:noFill/>
            <a:miter lim="800000"/>
            <a:headEnd/>
            <a:tailEnd/>
          </a:ln>
        </p:spPr>
        <p:txBody>
          <a:bodyPr wrap="none" lIns="0" tIns="0" rIns="0" bIns="0" anchor="ctr">
            <a:spAutoFit/>
          </a:bodyPr>
          <a:lstStyle/>
          <a:p>
            <a:pPr marL="0" algn="r" defTabSz="914400" rtl="0" eaLnBrk="1" latinLnBrk="0" hangingPunct="1">
              <a:defRPr/>
            </a:pPr>
            <a:fld id="{6856ECDB-1CEE-4F69-ADCA-557460F2116E}" type="slidenum">
              <a:rPr lang="en-US" sz="1000" kern="1200" smtClean="0">
                <a:solidFill>
                  <a:schemeClr val="tx2"/>
                </a:solidFill>
                <a:latin typeface="Arial" pitchFamily="34" charset="0"/>
                <a:ea typeface="+mn-ea"/>
                <a:cs typeface="Arial" pitchFamily="34" charset="0"/>
              </a:rPr>
              <a:pPr marL="0" algn="r" defTabSz="914400" rtl="0" eaLnBrk="1" latinLnBrk="0" hangingPunct="1">
                <a:defRPr/>
              </a:pPr>
              <a:t>‹#›</a:t>
            </a:fld>
            <a:endParaRPr lang="en-US" sz="1000" kern="1200" dirty="0">
              <a:solidFill>
                <a:schemeClr val="tx2"/>
              </a:solidFill>
              <a:latin typeface="Arial" pitchFamily="34" charset="0"/>
              <a:ea typeface="+mn-ea"/>
              <a:cs typeface="Arial" pitchFamily="34" charset="0"/>
            </a:endParaRPr>
          </a:p>
        </p:txBody>
      </p:sp>
      <p:pic>
        <p:nvPicPr>
          <p:cNvPr id="7" name="Picture 6"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4810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47736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4810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4773613" y="1971675"/>
            <a:ext cx="3933825"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userDrawn="1"/>
        </p:nvCxnSpPr>
        <p:spPr bwMode="gray">
          <a:xfrm>
            <a:off x="4810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47736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481013" y="470329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4773613" y="470329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481013" y="4207995"/>
            <a:ext cx="3933825"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4773613" y="4207995"/>
            <a:ext cx="3933825"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481013" y="458105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4773613" y="458105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2438399" y="1971675"/>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481013" y="1971675"/>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6669087" y="1971675"/>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4711701" y="1971675"/>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2438399" y="4241801"/>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481013" y="4241801"/>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6669087" y="4241801"/>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4711701" y="4241801"/>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481013" y="1971675"/>
            <a:ext cx="8226425"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366838" y="1527295"/>
            <a:ext cx="6729984"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userDrawn="1"/>
        </p:nvSpPr>
        <p:spPr bwMode="gray">
          <a:xfrm>
            <a:off x="1366839" y="3369513"/>
            <a:ext cx="6754811" cy="2446824"/>
          </a:xfrm>
          <a:prstGeom prst="rect">
            <a:avLst/>
          </a:prstGeom>
          <a:noFill/>
          <a:ln w="9525">
            <a:noFill/>
            <a:miter lim="800000"/>
            <a:headEnd/>
            <a:tailEnd/>
          </a:ln>
        </p:spPr>
        <p:txBody>
          <a:bodyPr wrap="square" lIns="0" tIns="0" rIns="0" bIns="0">
            <a:spAutoFit/>
          </a:bodyPr>
          <a:lstStyle/>
          <a:p>
            <a:pPr algn="just">
              <a:spcBef>
                <a:spcPts val="600"/>
              </a:spcBef>
            </a:pPr>
            <a:r>
              <a:rPr lang="en-US" sz="1000" b="1" dirty="0" smtClean="0">
                <a:solidFill>
                  <a:schemeClr val="tx2"/>
                </a:solidFill>
                <a:latin typeface="Arial" pitchFamily="34" charset="0"/>
                <a:cs typeface="Arial" pitchFamily="34" charset="0"/>
              </a:rPr>
              <a:t>Disclaimer </a:t>
            </a:r>
          </a:p>
          <a:p>
            <a:pPr algn="just">
              <a:spcBef>
                <a:spcPts val="600"/>
              </a:spcBef>
            </a:pPr>
            <a:r>
              <a:rPr lang="en-US" sz="900" dirty="0" smtClean="0">
                <a:solidFill>
                  <a:schemeClr val="tx2"/>
                </a:solidFill>
                <a:latin typeface="Arial" pitchFamily="34" charset="0"/>
                <a:cs typeface="Arial" pitchFamily="34" charset="0"/>
              </a:rPr>
              <a:t>Tech Mahindra Limited, herein referred to as </a:t>
            </a:r>
            <a:r>
              <a:rPr lang="en-US" sz="900" dirty="0" err="1" smtClean="0">
                <a:solidFill>
                  <a:schemeClr val="tx2"/>
                </a:solidFill>
                <a:latin typeface="Arial" pitchFamily="34" charset="0"/>
                <a:cs typeface="Arial" pitchFamily="34" charset="0"/>
              </a:rPr>
              <a:t>TechM</a:t>
            </a:r>
            <a:r>
              <a:rPr lang="en-US" sz="900" dirty="0" smtClean="0">
                <a:solidFill>
                  <a:schemeClr val="tx2"/>
                </a:solidFill>
                <a:latin typeface="Arial" pitchFamily="34" charset="0"/>
                <a:cs typeface="Arial" pitchFamily="34" charset="0"/>
              </a:rPr>
              <a:t> provides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smtClean="0">
                <a:solidFill>
                  <a:schemeClr val="tx2"/>
                </a:solidFill>
                <a:latin typeface="Arial" pitchFamily="34" charset="0"/>
                <a:cs typeface="Arial" pitchFamily="34" charset="0"/>
              </a:rPr>
              <a:t>TechM</a:t>
            </a:r>
            <a:r>
              <a:rPr lang="en-US" sz="900" dirty="0" smtClean="0">
                <a:solidFill>
                  <a:schemeClr val="tx2"/>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smtClean="0">
                <a:solidFill>
                  <a:schemeClr val="tx2"/>
                </a:solidFill>
                <a:latin typeface="Arial" pitchFamily="34" charset="0"/>
                <a:cs typeface="Arial" pitchFamily="34" charset="0"/>
              </a:rPr>
              <a:t>TechM</a:t>
            </a:r>
            <a:r>
              <a:rPr lang="en-US" sz="900" dirty="0" smtClean="0">
                <a:solidFill>
                  <a:schemeClr val="tx2"/>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smtClean="0">
                <a:solidFill>
                  <a:schemeClr val="tx2"/>
                </a:solidFill>
                <a:latin typeface="Arial" pitchFamily="34" charset="0"/>
                <a:cs typeface="Arial" pitchFamily="34" charset="0"/>
              </a:rPr>
              <a:t>TechM</a:t>
            </a:r>
            <a:r>
              <a:rPr lang="en-US" sz="900" dirty="0" smtClean="0">
                <a:solidFill>
                  <a:schemeClr val="tx2"/>
                </a:solidFill>
                <a:latin typeface="Arial" pitchFamily="34" charset="0"/>
                <a:cs typeface="Arial" pitchFamily="34" charset="0"/>
              </a:rPr>
              <a:t>. Information contained in a presentation hosted or promoted by </a:t>
            </a:r>
            <a:r>
              <a:rPr lang="en-US" sz="900" dirty="0" err="1" smtClean="0">
                <a:solidFill>
                  <a:schemeClr val="tx2"/>
                </a:solidFill>
                <a:latin typeface="Arial" pitchFamily="34" charset="0"/>
                <a:cs typeface="Arial" pitchFamily="34" charset="0"/>
              </a:rPr>
              <a:t>TechM</a:t>
            </a:r>
            <a:r>
              <a:rPr lang="en-US" sz="900" dirty="0" smtClean="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smtClean="0">
                <a:solidFill>
                  <a:schemeClr val="tx2"/>
                </a:solidFill>
                <a:latin typeface="Arial" pitchFamily="34" charset="0"/>
                <a:cs typeface="Arial" pitchFamily="34" charset="0"/>
              </a:rPr>
              <a:t>TechM</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366838" y="2140169"/>
            <a:ext cx="6734627"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9144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 name="Picture 3" descr="Mahindra Logo.png"/>
          <p:cNvPicPr>
            <a:picLocks noChangeAspect="1"/>
          </p:cNvPicPr>
          <p:nvPr userDrawn="1"/>
        </p:nvPicPr>
        <p:blipFill>
          <a:blip r:embed="rId2"/>
          <a:stretch>
            <a:fillRect/>
          </a:stretch>
        </p:blipFill>
        <p:spPr bwMode="gray">
          <a:xfrm>
            <a:off x="1966217" y="2717226"/>
            <a:ext cx="5399349" cy="1491023"/>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50467" y="134884"/>
            <a:ext cx="1393988" cy="386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731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sz="2200"/>
            </a:lvl1pPr>
            <a:lvl2pPr>
              <a:defRPr sz="2200"/>
            </a:lvl2pPr>
            <a:lvl3pPr>
              <a:defRPr sz="2200"/>
            </a:lvl3pPr>
            <a:lvl4pPr>
              <a:defRPr sz="2200"/>
            </a:lvl4pPr>
            <a:lvl5pPr>
              <a:defRPr sz="2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463694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4" name="Picture 11" descr="ridge4.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588" y="0"/>
            <a:ext cx="3968750" cy="144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4" descr="Mahindra Log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6329363" y="476250"/>
            <a:ext cx="23780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20"/>
          <p:cNvSpPr txBox="1">
            <a:spLocks noChangeArrowheads="1"/>
          </p:cNvSpPr>
          <p:nvPr/>
        </p:nvSpPr>
        <p:spPr bwMode="gray">
          <a:xfrm>
            <a:off x="481013" y="6629400"/>
            <a:ext cx="24320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defRPr/>
            </a:pPr>
            <a:r>
              <a:rPr lang="en-US" sz="800" dirty="0" smtClean="0">
                <a:solidFill>
                  <a:schemeClr val="tx2"/>
                </a:solidFill>
              </a:rPr>
              <a:t>Copyright © 2015 Tech Mahindra. All rights reserved.</a:t>
            </a:r>
          </a:p>
        </p:txBody>
      </p:sp>
      <p:sp>
        <p:nvSpPr>
          <p:cNvPr id="9"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rgbClr val="6D6E7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itle 8"/>
          <p:cNvSpPr>
            <a:spLocks noGrp="1"/>
          </p:cNvSpPr>
          <p:nvPr>
            <p:ph type="title"/>
          </p:nvPr>
        </p:nvSpPr>
        <p:spPr bwMode="gray">
          <a:xfrm>
            <a:off x="1827213" y="2138234"/>
            <a:ext cx="5511800" cy="1323439"/>
          </a:xfrm>
        </p:spPr>
        <p:txBody>
          <a:bodyPr>
            <a:spAutoFit/>
          </a:bodyPr>
          <a:lstStyle>
            <a:lvl1pPr algn="l">
              <a:defRPr sz="4000" b="1">
                <a:solidFill>
                  <a:srgbClr val="E31819"/>
                </a:solidFill>
                <a:latin typeface="Arial" pitchFamily="34" charset="0"/>
                <a:cs typeface="Arial" pitchFamily="34" charset="0"/>
              </a:defRPr>
            </a:lvl1pPr>
          </a:lstStyle>
          <a:p>
            <a:r>
              <a:rPr lang="en-US" smtClean="0"/>
              <a:t>Click to edit Master title style</a:t>
            </a:r>
            <a:endParaRPr lang="en-US" dirty="0"/>
          </a:p>
        </p:txBody>
      </p:sp>
      <p:sp>
        <p:nvSpPr>
          <p:cNvPr id="7" name="Footer Placeholder 1"/>
          <p:cNvSpPr>
            <a:spLocks noGrp="1"/>
          </p:cNvSpPr>
          <p:nvPr>
            <p:ph type="ftr" sz="quarter" idx="10"/>
          </p:nvPr>
        </p:nvSpPr>
        <p:spPr>
          <a:xfrm>
            <a:off x="6224588" y="6454775"/>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srgbClr val="FFFFFF"/>
                </a:solidFill>
                <a:latin typeface="+mn-lt"/>
                <a:cs typeface="Arial" charset="0"/>
              </a:defRPr>
            </a:lvl1pPr>
          </a:lstStyle>
          <a:p>
            <a:endParaRPr lang="en-US"/>
          </a:p>
        </p:txBody>
      </p:sp>
    </p:spTree>
    <p:extLst>
      <p:ext uri="{BB962C8B-B14F-4D97-AF65-F5344CB8AC3E}">
        <p14:creationId xmlns:p14="http://schemas.microsoft.com/office/powerpoint/2010/main" val="34168672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7772400" cy="1143000"/>
          </a:xfrm>
        </p:spPr>
        <p:txBody>
          <a:bodyPr/>
          <a:lstStyle>
            <a:lvl1pPr>
              <a:defRPr>
                <a:solidFill>
                  <a:srgbClr val="000000"/>
                </a:solidFill>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685800" y="1981200"/>
            <a:ext cx="3810000" cy="41148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hart Placeholder 3"/>
          <p:cNvSpPr>
            <a:spLocks noGrp="1"/>
          </p:cNvSpPr>
          <p:nvPr>
            <p:ph type="chart" sz="half" idx="2"/>
          </p:nvPr>
        </p:nvSpPr>
        <p:spPr>
          <a:xfrm>
            <a:off x="4648200" y="1981200"/>
            <a:ext cx="3810000" cy="4114800"/>
          </a:xfrm>
        </p:spPr>
        <p:txBody>
          <a:bodyPr rtlCol="0">
            <a:normAutofit/>
          </a:bodyPr>
          <a:lstStyle>
            <a:lvl1pPr>
              <a:defRPr>
                <a:solidFill>
                  <a:srgbClr val="000000"/>
                </a:solidFill>
              </a:defRPr>
            </a:lvl1pPr>
          </a:lstStyle>
          <a:p>
            <a:pPr lvl="0"/>
            <a:endParaRPr lang="en-US" noProof="0" smtClean="0"/>
          </a:p>
        </p:txBody>
      </p:sp>
    </p:spTree>
    <p:extLst>
      <p:ext uri="{BB962C8B-B14F-4D97-AF65-F5344CB8AC3E}">
        <p14:creationId xmlns:p14="http://schemas.microsoft.com/office/powerpoint/2010/main" val="2848648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27213" y="4053701"/>
            <a:ext cx="5511800"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27213" y="2184400"/>
            <a:ext cx="5511800" cy="1231106"/>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pic>
        <p:nvPicPr>
          <p:cNvPr id="12" name="Picture 11"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8" name="Picture 7"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86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Title 1"/>
          <p:cNvSpPr>
            <a:spLocks noGrp="1"/>
          </p:cNvSpPr>
          <p:nvPr>
            <p:ph type="title"/>
          </p:nvPr>
        </p:nvSpPr>
        <p:spPr bwMode="gray">
          <a:xfrm>
            <a:off x="1828801" y="182880"/>
            <a:ext cx="6858000" cy="49244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b="1" dirty="0"/>
            </a:lvl1pPr>
          </a:lstStyle>
          <a:p>
            <a:pPr lvl="0"/>
            <a:r>
              <a:rPr lang="en-US" dirty="0" smtClean="0"/>
              <a:t>Click to edit Master title style</a:t>
            </a:r>
            <a:endParaRPr lang="en-US" dirty="0"/>
          </a:p>
        </p:txBody>
      </p:sp>
      <p:sp>
        <p:nvSpPr>
          <p:cNvPr id="7" name="Text Placeholder 41"/>
          <p:cNvSpPr>
            <a:spLocks noGrp="1"/>
          </p:cNvSpPr>
          <p:nvPr>
            <p:ph type="body" sz="quarter" idx="13"/>
          </p:nvPr>
        </p:nvSpPr>
        <p:spPr bwMode="gray">
          <a:xfrm>
            <a:off x="457200" y="731520"/>
            <a:ext cx="8224838" cy="283711"/>
          </a:xfrm>
        </p:spPr>
        <p:txBody>
          <a:bodyPr/>
          <a:lstStyle>
            <a:lvl1pPr marL="0" indent="0">
              <a:buNone/>
              <a:defRPr b="0">
                <a:solidFill>
                  <a:schemeClr val="bg2"/>
                </a:solidFill>
                <a:latin typeface="Arial" pitchFamily="34" charset="0"/>
                <a:cs typeface="Arial" pitchFamily="34" charset="0"/>
              </a:defRPr>
            </a:lvl1pPr>
          </a:lstStyle>
          <a:p>
            <a:pPr lvl="0"/>
            <a:r>
              <a:rPr lang="en-US" dirty="0" smtClean="0"/>
              <a:t>Click to edit Master text styles</a:t>
            </a:r>
          </a:p>
        </p:txBody>
      </p:sp>
      <p:pic>
        <p:nvPicPr>
          <p:cNvPr id="5" name="Picture 10" descr="Mahindra Logo.png"/>
          <p:cNvPicPr>
            <a:picLocks noChangeAspect="1"/>
          </p:cNvPicPr>
          <p:nvPr userDrawn="1"/>
        </p:nvPicPr>
        <p:blipFill>
          <a:blip r:embed="rId2" cstate="email"/>
          <a:srcRect/>
          <a:stretch>
            <a:fillRect/>
          </a:stretch>
        </p:blipFill>
        <p:spPr bwMode="gray">
          <a:xfrm>
            <a:off x="457200" y="6431241"/>
            <a:ext cx="1193800" cy="329929"/>
          </a:xfrm>
          <a:prstGeom prst="rect">
            <a:avLst/>
          </a:prstGeom>
          <a:noFill/>
          <a:ln w="9525">
            <a:noFill/>
            <a:miter lim="800000"/>
            <a:headEnd/>
            <a:tailEnd/>
          </a:ln>
        </p:spPr>
      </p:pic>
    </p:spTree>
    <p:extLst>
      <p:ext uri="{BB962C8B-B14F-4D97-AF65-F5344CB8AC3E}">
        <p14:creationId xmlns:p14="http://schemas.microsoft.com/office/powerpoint/2010/main" val="29769841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11" descr="ridge4.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588" y="0"/>
            <a:ext cx="3968750" cy="144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4" descr="Mahindra Log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6329363" y="476250"/>
            <a:ext cx="23780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20"/>
          <p:cNvSpPr txBox="1">
            <a:spLocks noChangeArrowheads="1"/>
          </p:cNvSpPr>
          <p:nvPr/>
        </p:nvSpPr>
        <p:spPr bwMode="gray">
          <a:xfrm>
            <a:off x="481013" y="6629400"/>
            <a:ext cx="24320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defRPr/>
            </a:pPr>
            <a:r>
              <a:rPr lang="en-US" sz="800" dirty="0" smtClean="0">
                <a:solidFill>
                  <a:srgbClr val="1F497D"/>
                </a:solidFill>
              </a:rPr>
              <a:t>Copyright © 2015 Tech Mahindra. All rights reserved.</a:t>
            </a:r>
          </a:p>
        </p:txBody>
      </p:sp>
      <p:sp>
        <p:nvSpPr>
          <p:cNvPr id="9"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rgbClr val="6D6E7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itle 8"/>
          <p:cNvSpPr>
            <a:spLocks noGrp="1"/>
          </p:cNvSpPr>
          <p:nvPr>
            <p:ph type="title"/>
          </p:nvPr>
        </p:nvSpPr>
        <p:spPr bwMode="gray">
          <a:xfrm>
            <a:off x="1827213" y="2138234"/>
            <a:ext cx="5511800" cy="1323439"/>
          </a:xfrm>
        </p:spPr>
        <p:txBody>
          <a:bodyPr>
            <a:spAutoFit/>
          </a:bodyPr>
          <a:lstStyle>
            <a:lvl1pPr algn="l">
              <a:defRPr sz="4000" b="1">
                <a:solidFill>
                  <a:srgbClr val="E31819"/>
                </a:solidFill>
                <a:latin typeface="Arial" pitchFamily="34" charset="0"/>
                <a:cs typeface="Arial" pitchFamily="34" charset="0"/>
              </a:defRPr>
            </a:lvl1pPr>
          </a:lstStyle>
          <a:p>
            <a:r>
              <a:rPr lang="en-US" smtClean="0"/>
              <a:t>Click to edit Master title style</a:t>
            </a:r>
            <a:endParaRPr lang="en-US" dirty="0"/>
          </a:p>
        </p:txBody>
      </p:sp>
      <p:sp>
        <p:nvSpPr>
          <p:cNvPr id="7" name="Footer Placeholder 1"/>
          <p:cNvSpPr>
            <a:spLocks noGrp="1"/>
          </p:cNvSpPr>
          <p:nvPr>
            <p:ph type="ftr" sz="quarter" idx="10"/>
          </p:nvPr>
        </p:nvSpPr>
        <p:spPr>
          <a:xfrm>
            <a:off x="6224588" y="6454775"/>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srgbClr val="FFFFFF"/>
                </a:solidFill>
                <a:latin typeface="+mn-lt"/>
                <a:cs typeface="Arial" charset="0"/>
              </a:defRPr>
            </a:lvl1pPr>
          </a:lstStyle>
          <a:p>
            <a:endParaRPr lang="en-US" dirty="0"/>
          </a:p>
        </p:txBody>
      </p:sp>
    </p:spTree>
    <p:extLst>
      <p:ext uri="{BB962C8B-B14F-4D97-AF65-F5344CB8AC3E}">
        <p14:creationId xmlns:p14="http://schemas.microsoft.com/office/powerpoint/2010/main" val="3180790827"/>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6705600" cy="411162"/>
          </a:xfrm>
        </p:spPr>
        <p:txBody>
          <a:bodyPr/>
          <a:lstStyle>
            <a:lvl1pPr>
              <a:defRPr>
                <a:solidFill>
                  <a:srgbClr val="6D6E71"/>
                </a:solidFill>
              </a:defRPr>
            </a:lvl1pPr>
          </a:lstStyle>
          <a:p>
            <a:r>
              <a:rPr lang="en-US" smtClean="0"/>
              <a:t>Click to edit Master title style</a:t>
            </a:r>
            <a:endParaRPr lang="en-US"/>
          </a:p>
        </p:txBody>
      </p:sp>
      <p:sp>
        <p:nvSpPr>
          <p:cNvPr id="3" name="Content Placeholder 2"/>
          <p:cNvSpPr>
            <a:spLocks noGrp="1"/>
          </p:cNvSpPr>
          <p:nvPr>
            <p:ph idx="1"/>
          </p:nvPr>
        </p:nvSpPr>
        <p:spPr>
          <a:xfrm>
            <a:off x="457200" y="1096962"/>
            <a:ext cx="8382000" cy="5486400"/>
          </a:xfrm>
        </p:spPr>
        <p:txBody>
          <a:bodyPr/>
          <a:lstStyle>
            <a:lvl1pPr>
              <a:lnSpc>
                <a:spcPct val="114000"/>
              </a:lnSpc>
              <a:defRPr sz="1800"/>
            </a:lvl1pPr>
            <a:lvl2pPr>
              <a:lnSpc>
                <a:spcPct val="114000"/>
              </a:lnSpc>
              <a:defRPr sz="1600"/>
            </a:lvl2pPr>
            <a:lvl3pPr>
              <a:lnSpc>
                <a:spcPct val="114000"/>
              </a:lnSpc>
              <a:buClr>
                <a:srgbClr val="C00000"/>
              </a:buClr>
              <a:defRPr sz="1600"/>
            </a:lvl3pPr>
            <a:lvl4pPr>
              <a:lnSpc>
                <a:spcPct val="114000"/>
              </a:lnSpc>
              <a:buClr>
                <a:srgbClr val="C00000"/>
              </a:buClr>
              <a:defRPr sz="1600"/>
            </a:lvl4pPr>
            <a:lvl5pPr>
              <a:lnSpc>
                <a:spcPct val="114000"/>
              </a:lnSpc>
              <a:buClr>
                <a:srgbClr val="C00000"/>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981629"/>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583797"/>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hank you">
    <p:spTree>
      <p:nvGrpSpPr>
        <p:cNvPr id="1" name=""/>
        <p:cNvGrpSpPr/>
        <p:nvPr/>
      </p:nvGrpSpPr>
      <p:grpSpPr>
        <a:xfrm>
          <a:off x="0" y="0"/>
          <a:ext cx="0" cy="0"/>
          <a:chOff x="0" y="0"/>
          <a:chExt cx="0" cy="0"/>
        </a:xfrm>
      </p:grpSpPr>
      <p:sp>
        <p:nvSpPr>
          <p:cNvPr id="5" name="TextBox 7"/>
          <p:cNvSpPr txBox="1">
            <a:spLocks noChangeArrowheads="1"/>
          </p:cNvSpPr>
          <p:nvPr/>
        </p:nvSpPr>
        <p:spPr bwMode="gray">
          <a:xfrm>
            <a:off x="1366838" y="3370263"/>
            <a:ext cx="6754812" cy="258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b="1">
                <a:solidFill>
                  <a:schemeClr val="tx1"/>
                </a:solidFill>
                <a:latin typeface="Times New Roman" pitchFamily="18" charset="0"/>
              </a:defRPr>
            </a:lvl1pPr>
            <a:lvl2pPr marL="742950" indent="-285750">
              <a:defRPr b="1">
                <a:solidFill>
                  <a:schemeClr val="tx1"/>
                </a:solidFill>
                <a:latin typeface="Times New Roman" pitchFamily="18" charset="0"/>
              </a:defRPr>
            </a:lvl2pPr>
            <a:lvl3pPr marL="1143000" indent="-228600">
              <a:defRPr b="1">
                <a:solidFill>
                  <a:schemeClr val="tx1"/>
                </a:solidFill>
                <a:latin typeface="Times New Roman" pitchFamily="18" charset="0"/>
              </a:defRPr>
            </a:lvl3pPr>
            <a:lvl4pPr marL="1600200" indent="-228600">
              <a:defRPr b="1">
                <a:solidFill>
                  <a:schemeClr val="tx1"/>
                </a:solidFill>
                <a:latin typeface="Times New Roman" pitchFamily="18" charset="0"/>
              </a:defRPr>
            </a:lvl4pPr>
            <a:lvl5pPr marL="2057400" indent="-228600">
              <a:defRPr b="1">
                <a:solidFill>
                  <a:schemeClr val="tx1"/>
                </a:solidFill>
                <a:latin typeface="Times New Roman" pitchFamily="18" charset="0"/>
              </a:defRPr>
            </a:lvl5pPr>
            <a:lvl6pPr marL="2514600" indent="-228600" eaLnBrk="0" fontAlgn="base" hangingPunct="0">
              <a:spcBef>
                <a:spcPct val="0"/>
              </a:spcBef>
              <a:spcAft>
                <a:spcPct val="0"/>
              </a:spcAft>
              <a:defRPr b="1">
                <a:solidFill>
                  <a:schemeClr val="tx1"/>
                </a:solidFill>
                <a:latin typeface="Times New Roman" pitchFamily="18" charset="0"/>
              </a:defRPr>
            </a:lvl6pPr>
            <a:lvl7pPr marL="2971800" indent="-228600" eaLnBrk="0" fontAlgn="base" hangingPunct="0">
              <a:spcBef>
                <a:spcPct val="0"/>
              </a:spcBef>
              <a:spcAft>
                <a:spcPct val="0"/>
              </a:spcAft>
              <a:defRPr b="1">
                <a:solidFill>
                  <a:schemeClr val="tx1"/>
                </a:solidFill>
                <a:latin typeface="Times New Roman" pitchFamily="18" charset="0"/>
              </a:defRPr>
            </a:lvl7pPr>
            <a:lvl8pPr marL="3429000" indent="-228600" eaLnBrk="0" fontAlgn="base" hangingPunct="0">
              <a:spcBef>
                <a:spcPct val="0"/>
              </a:spcBef>
              <a:spcAft>
                <a:spcPct val="0"/>
              </a:spcAft>
              <a:defRPr b="1">
                <a:solidFill>
                  <a:schemeClr val="tx1"/>
                </a:solidFill>
                <a:latin typeface="Times New Roman" pitchFamily="18" charset="0"/>
              </a:defRPr>
            </a:lvl8pPr>
            <a:lvl9pPr marL="3886200" indent="-228600" eaLnBrk="0" fontAlgn="base" hangingPunct="0">
              <a:spcBef>
                <a:spcPct val="0"/>
              </a:spcBef>
              <a:spcAft>
                <a:spcPct val="0"/>
              </a:spcAft>
              <a:defRPr b="1">
                <a:solidFill>
                  <a:schemeClr val="tx1"/>
                </a:solidFill>
                <a:latin typeface="Times New Roman" pitchFamily="18" charset="0"/>
              </a:defRPr>
            </a:lvl9pPr>
          </a:lstStyle>
          <a:p>
            <a:pPr algn="just">
              <a:spcBef>
                <a:spcPts val="600"/>
              </a:spcBef>
              <a:defRPr/>
            </a:pPr>
            <a:r>
              <a:rPr lang="en-US" altLang="en-US" sz="1000" dirty="0" smtClean="0">
                <a:solidFill>
                  <a:prstClr val="white">
                    <a:lumMod val="50000"/>
                  </a:prstClr>
                </a:solidFill>
                <a:latin typeface="Arial" pitchFamily="34" charset="0"/>
                <a:cs typeface="Arial" pitchFamily="34" charset="0"/>
              </a:rPr>
              <a:t>Disclaimer </a:t>
            </a:r>
          </a:p>
          <a:p>
            <a:pPr algn="just">
              <a:spcBef>
                <a:spcPts val="600"/>
              </a:spcBef>
              <a:defRPr/>
            </a:pPr>
            <a:r>
              <a:rPr lang="en-US" altLang="en-US" sz="900" dirty="0" smtClean="0">
                <a:solidFill>
                  <a:prstClr val="white">
                    <a:lumMod val="50000"/>
                  </a:prstClr>
                </a:solidFill>
                <a:latin typeface="Arial" pitchFamily="34" charset="0"/>
                <a:cs typeface="Arial" pitchFamily="34" charset="0"/>
              </a:rPr>
              <a:t>Tech Mahindra Limited, herein referred to as TechM provides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366838" y="1527295"/>
            <a:ext cx="6729984" cy="492443"/>
          </a:xfrm>
          <a:noFill/>
          <a:ln w="9525">
            <a:noFill/>
            <a:miter lim="800000"/>
            <a:headEnd/>
            <a:tailEnd/>
          </a:ln>
        </p:spPr>
        <p:txBody>
          <a:bodyPr/>
          <a:lstStyle>
            <a:lvl1pPr algn="l">
              <a:defRPr lang="en-US" sz="3200" b="1" kern="1200" dirty="0">
                <a:solidFill>
                  <a:schemeClr val="bg1">
                    <a:lumMod val="50000"/>
                  </a:schemeClr>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366838" y="2140169"/>
            <a:ext cx="6734627"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5785639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pic>
        <p:nvPicPr>
          <p:cNvPr id="4" name="Picture 9" descr="ridge4.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588" y="0"/>
            <a:ext cx="3968750" cy="144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Mahindra Log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6329363" y="476250"/>
            <a:ext cx="23780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1827213" y="2184400"/>
            <a:ext cx="5511800" cy="1231106"/>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6431999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5" name="TextBox 7"/>
          <p:cNvSpPr txBox="1">
            <a:spLocks noChangeArrowheads="1"/>
          </p:cNvSpPr>
          <p:nvPr/>
        </p:nvSpPr>
        <p:spPr bwMode="gray">
          <a:xfrm>
            <a:off x="1366838" y="3370263"/>
            <a:ext cx="6754812" cy="258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b="1">
                <a:solidFill>
                  <a:schemeClr val="tx1"/>
                </a:solidFill>
                <a:latin typeface="Times New Roman" pitchFamily="18" charset="0"/>
              </a:defRPr>
            </a:lvl1pPr>
            <a:lvl2pPr marL="742950" indent="-285750">
              <a:defRPr b="1">
                <a:solidFill>
                  <a:schemeClr val="tx1"/>
                </a:solidFill>
                <a:latin typeface="Times New Roman" pitchFamily="18" charset="0"/>
              </a:defRPr>
            </a:lvl2pPr>
            <a:lvl3pPr marL="1143000" indent="-228600">
              <a:defRPr b="1">
                <a:solidFill>
                  <a:schemeClr val="tx1"/>
                </a:solidFill>
                <a:latin typeface="Times New Roman" pitchFamily="18" charset="0"/>
              </a:defRPr>
            </a:lvl3pPr>
            <a:lvl4pPr marL="1600200" indent="-228600">
              <a:defRPr b="1">
                <a:solidFill>
                  <a:schemeClr val="tx1"/>
                </a:solidFill>
                <a:latin typeface="Times New Roman" pitchFamily="18" charset="0"/>
              </a:defRPr>
            </a:lvl4pPr>
            <a:lvl5pPr marL="2057400" indent="-228600">
              <a:defRPr b="1">
                <a:solidFill>
                  <a:schemeClr val="tx1"/>
                </a:solidFill>
                <a:latin typeface="Times New Roman" pitchFamily="18" charset="0"/>
              </a:defRPr>
            </a:lvl5pPr>
            <a:lvl6pPr marL="2514600" indent="-228600" eaLnBrk="0" fontAlgn="base" hangingPunct="0">
              <a:spcBef>
                <a:spcPct val="0"/>
              </a:spcBef>
              <a:spcAft>
                <a:spcPct val="0"/>
              </a:spcAft>
              <a:defRPr b="1">
                <a:solidFill>
                  <a:schemeClr val="tx1"/>
                </a:solidFill>
                <a:latin typeface="Times New Roman" pitchFamily="18" charset="0"/>
              </a:defRPr>
            </a:lvl6pPr>
            <a:lvl7pPr marL="2971800" indent="-228600" eaLnBrk="0" fontAlgn="base" hangingPunct="0">
              <a:spcBef>
                <a:spcPct val="0"/>
              </a:spcBef>
              <a:spcAft>
                <a:spcPct val="0"/>
              </a:spcAft>
              <a:defRPr b="1">
                <a:solidFill>
                  <a:schemeClr val="tx1"/>
                </a:solidFill>
                <a:latin typeface="Times New Roman" pitchFamily="18" charset="0"/>
              </a:defRPr>
            </a:lvl7pPr>
            <a:lvl8pPr marL="3429000" indent="-228600" eaLnBrk="0" fontAlgn="base" hangingPunct="0">
              <a:spcBef>
                <a:spcPct val="0"/>
              </a:spcBef>
              <a:spcAft>
                <a:spcPct val="0"/>
              </a:spcAft>
              <a:defRPr b="1">
                <a:solidFill>
                  <a:schemeClr val="tx1"/>
                </a:solidFill>
                <a:latin typeface="Times New Roman" pitchFamily="18" charset="0"/>
              </a:defRPr>
            </a:lvl8pPr>
            <a:lvl9pPr marL="3886200" indent="-228600" eaLnBrk="0" fontAlgn="base" hangingPunct="0">
              <a:spcBef>
                <a:spcPct val="0"/>
              </a:spcBef>
              <a:spcAft>
                <a:spcPct val="0"/>
              </a:spcAft>
              <a:defRPr b="1">
                <a:solidFill>
                  <a:schemeClr val="tx1"/>
                </a:solidFill>
                <a:latin typeface="Times New Roman" pitchFamily="18" charset="0"/>
              </a:defRPr>
            </a:lvl9pPr>
          </a:lstStyle>
          <a:p>
            <a:pPr algn="just">
              <a:spcBef>
                <a:spcPts val="600"/>
              </a:spcBef>
              <a:defRPr/>
            </a:pPr>
            <a:r>
              <a:rPr lang="en-US" altLang="en-US" sz="1000" dirty="0" smtClean="0">
                <a:solidFill>
                  <a:srgbClr val="1F497D"/>
                </a:solidFill>
                <a:latin typeface="Arial" pitchFamily="34" charset="0"/>
                <a:cs typeface="Arial" pitchFamily="34" charset="0"/>
              </a:rPr>
              <a:t>Disclaimer </a:t>
            </a:r>
          </a:p>
          <a:p>
            <a:pPr algn="just">
              <a:spcBef>
                <a:spcPts val="600"/>
              </a:spcBef>
              <a:defRPr/>
            </a:pPr>
            <a:r>
              <a:rPr lang="en-US" altLang="en-US" sz="900" dirty="0" smtClean="0">
                <a:solidFill>
                  <a:srgbClr val="1F497D"/>
                </a:solidFill>
                <a:latin typeface="Arial" pitchFamily="34" charset="0"/>
                <a:cs typeface="Arial" pitchFamily="34" charset="0"/>
              </a:rPr>
              <a:t>Tech Mahindra Limited, herein referred to as TechM provides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366838" y="1527295"/>
            <a:ext cx="6729984"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dirty="0" smtClean="0"/>
              <a:t>Click to edit Master title style</a:t>
            </a:r>
            <a:endParaRPr lang="en-US" dirty="0"/>
          </a:p>
        </p:txBody>
      </p:sp>
      <p:sp>
        <p:nvSpPr>
          <p:cNvPr id="4" name="Text Placeholder 41"/>
          <p:cNvSpPr>
            <a:spLocks noGrp="1"/>
          </p:cNvSpPr>
          <p:nvPr>
            <p:ph type="body" sz="quarter" idx="14"/>
          </p:nvPr>
        </p:nvSpPr>
        <p:spPr bwMode="gray">
          <a:xfrm>
            <a:off x="1366838" y="2140169"/>
            <a:ext cx="6734627"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480539061"/>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7819101"/>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304799" y="442188"/>
            <a:ext cx="8539163" cy="444916"/>
          </a:xfrm>
          <a:prstGeom prst="rect">
            <a:avLst/>
          </a:prstGeom>
        </p:spPr>
        <p:txBody>
          <a:bodyPr>
            <a:noAutofit/>
          </a:bodyPr>
          <a:lstStyle>
            <a:lvl1pPr algn="l">
              <a:defRPr lang="en-US" sz="3200" b="1" kern="1200" dirty="0">
                <a:solidFill>
                  <a:schemeClr val="tx1"/>
                </a:solidFill>
                <a:effectLst>
                  <a:outerShdw blurRad="190500" dist="76200" dir="2700000" algn="tl">
                    <a:srgbClr val="000000">
                      <a:alpha val="30000"/>
                    </a:srgbClr>
                  </a:outerShdw>
                </a:effectLst>
                <a:latin typeface="Arial" pitchFamily="34" charset="0"/>
                <a:ea typeface="+mn-ea"/>
                <a:cs typeface="Arial" pitchFamily="34" charset="0"/>
              </a:defRPr>
            </a:lvl1pPr>
          </a:lstStyle>
          <a:p>
            <a:pPr marL="0" lvl="0" algn="l" defTabSz="914400" rtl="0" eaLnBrk="1" latinLnBrk="0" hangingPunct="1">
              <a:spcBef>
                <a:spcPct val="0"/>
              </a:spcBef>
              <a:defRPr/>
            </a:pPr>
            <a:r>
              <a:rPr lang="en-US"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292662"/>
          </a:xfrm>
          <a:prstGeom prst="rect">
            <a:avLst/>
          </a:prstGeom>
        </p:spPr>
        <p:txBody>
          <a:bodyPr wrap="square">
            <a:spAutoFit/>
          </a:bodyPr>
          <a:lstStyle>
            <a:lvl1pPr>
              <a:spcBef>
                <a:spcPts val="0"/>
              </a:spcBef>
              <a:spcAft>
                <a:spcPts val="0"/>
              </a:spcAft>
              <a:defRPr sz="1800">
                <a:latin typeface="Arial" pitchFamily="34" charset="0"/>
                <a:cs typeface="Arial" pitchFamily="34" charset="0"/>
              </a:defRPr>
            </a:lvl1pPr>
            <a:lvl2pPr marL="285750" indent="-285750">
              <a:spcBef>
                <a:spcPts val="0"/>
              </a:spcBef>
              <a:spcAft>
                <a:spcPts val="0"/>
              </a:spcAft>
              <a:buClr>
                <a:srgbClr val="C00000"/>
              </a:buClr>
              <a:buFont typeface="Arial" pitchFamily="34" charset="0"/>
              <a:buChar char="•"/>
              <a:defRPr sz="1800">
                <a:latin typeface="Arial" pitchFamily="34" charset="0"/>
                <a:cs typeface="Arial" pitchFamily="34" charset="0"/>
              </a:defRPr>
            </a:lvl2pPr>
            <a:lvl3pPr marL="571500" indent="-279400">
              <a:spcBef>
                <a:spcPts val="0"/>
              </a:spcBef>
              <a:spcAft>
                <a:spcPts val="0"/>
              </a:spcAft>
              <a:buClr>
                <a:srgbClr val="C00000"/>
              </a:buClr>
              <a:buSzPct val="100000"/>
              <a:buFont typeface="Wingdings" pitchFamily="2" charset="2"/>
              <a:buChar char="§"/>
              <a:defRPr sz="1600">
                <a:latin typeface="Arial" pitchFamily="34" charset="0"/>
                <a:cs typeface="Arial" pitchFamily="34" charset="0"/>
              </a:defRPr>
            </a:lvl3pPr>
            <a:lvl4pPr marL="850900" indent="-279400">
              <a:spcBef>
                <a:spcPts val="0"/>
              </a:spcBef>
              <a:spcAft>
                <a:spcPts val="0"/>
              </a:spcAft>
              <a:buClr>
                <a:srgbClr val="C00000"/>
              </a:buClr>
              <a:buFont typeface="Courier New" pitchFamily="49" charset="0"/>
              <a:buChar char="o"/>
              <a:defRPr sz="1400">
                <a:latin typeface="Arial" pitchFamily="34" charset="0"/>
                <a:cs typeface="Arial" pitchFamily="34" charset="0"/>
              </a:defRPr>
            </a:lvl4pPr>
            <a:lvl5pPr>
              <a:spcBef>
                <a:spcPts val="0"/>
              </a:spcBef>
              <a:spcAft>
                <a:spcPts val="0"/>
              </a:spcAft>
              <a:buClr>
                <a:srgbClr val="C00000"/>
              </a:buClr>
              <a:defRPr sz="1200">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latin typeface="Calibri"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latin typeface="Calibri"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712632855"/>
      </p:ext>
    </p:extLst>
  </p:cSld>
  <p:clrMapOvr>
    <a:masterClrMapping/>
  </p:clrMapOvr>
  <p:transition>
    <p:fade thruBlk="1"/>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50467" y="134884"/>
            <a:ext cx="1393988" cy="386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D698EAF8-5415-47DE-A011-D94762BF240A}" type="datetimeFigureOut">
              <a:rPr lang="en-US" smtClean="0">
                <a:solidFill>
                  <a:prstClr val="black"/>
                </a:solidFill>
              </a:rPr>
              <a:pPr/>
              <a:t>12/5/2016</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75C80DB6-ACCE-4503-B0CB-D7DE1033255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76549462"/>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39913" y="4067175"/>
            <a:ext cx="55245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39914" y="2200275"/>
            <a:ext cx="5524500"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a:stretch>
            <a:fillRect/>
          </a:stretch>
        </p:blipFill>
        <p:spPr bwMode="ltGray">
          <a:xfrm>
            <a:off x="802" y="0"/>
            <a:ext cx="3968824" cy="1443209"/>
          </a:xfrm>
          <a:prstGeom prst="rect">
            <a:avLst/>
          </a:prstGeom>
        </p:spPr>
      </p:pic>
      <p:pic>
        <p:nvPicPr>
          <p:cNvPr id="6" name="Picture 5" descr="Mahindra Logo.png"/>
          <p:cNvPicPr>
            <a:picLocks noChangeAspect="1"/>
          </p:cNvPicPr>
          <p:nvPr/>
        </p:nvPicPr>
        <p:blipFill>
          <a:blip r:embed="rId3"/>
          <a:stretch>
            <a:fillRect/>
          </a:stretch>
        </p:blipFill>
        <p:spPr bwMode="gray">
          <a:xfrm>
            <a:off x="6329900" y="476643"/>
            <a:ext cx="2377538" cy="656554"/>
          </a:xfrm>
          <a:prstGeom prst="rect">
            <a:avLst/>
          </a:prstGeom>
        </p:spPr>
      </p:pic>
    </p:spTree>
    <p:extLst>
      <p:ext uri="{BB962C8B-B14F-4D97-AF65-F5344CB8AC3E}">
        <p14:creationId xmlns:p14="http://schemas.microsoft.com/office/powerpoint/2010/main" val="132438770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6"/>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table</a:t>
            </a:r>
            <a:endParaRPr lang="en-US" noProof="0" dirty="0"/>
          </a:p>
        </p:txBody>
      </p:sp>
      <p:sp>
        <p:nvSpPr>
          <p:cNvPr id="4" name="Title 1"/>
          <p:cNvSpPr>
            <a:spLocks noGrp="1"/>
          </p:cNvSpPr>
          <p:nvPr>
            <p:ph type="title"/>
          </p:nvPr>
        </p:nvSpPr>
        <p:spPr bwMode="gray">
          <a:xfrm>
            <a:off x="1828800" y="182880"/>
            <a:ext cx="6884126" cy="49244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457200" y="731520"/>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540496144"/>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7_Title Slide">
    <p:spTree>
      <p:nvGrpSpPr>
        <p:cNvPr id="1" name=""/>
        <p:cNvGrpSpPr/>
        <p:nvPr/>
      </p:nvGrpSpPr>
      <p:grpSpPr>
        <a:xfrm>
          <a:off x="0" y="0"/>
          <a:ext cx="0" cy="0"/>
          <a:chOff x="0" y="0"/>
          <a:chExt cx="0" cy="0"/>
        </a:xfrm>
      </p:grpSpPr>
      <p:pic>
        <p:nvPicPr>
          <p:cNvPr id="4" name="Picture 11" descr="ridge4.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588" y="0"/>
            <a:ext cx="3968750" cy="144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4" descr="Mahindra Log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6329363" y="476250"/>
            <a:ext cx="23780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20"/>
          <p:cNvSpPr txBox="1">
            <a:spLocks noChangeArrowheads="1"/>
          </p:cNvSpPr>
          <p:nvPr/>
        </p:nvSpPr>
        <p:spPr bwMode="gray">
          <a:xfrm>
            <a:off x="481013" y="6629400"/>
            <a:ext cx="24320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defRPr/>
            </a:pPr>
            <a:r>
              <a:rPr lang="en-US" sz="800" dirty="0" smtClean="0">
                <a:solidFill>
                  <a:srgbClr val="1F497D"/>
                </a:solidFill>
              </a:rPr>
              <a:t>Copyright © 2015 Tech Mahindra. All rights reserved.</a:t>
            </a:r>
          </a:p>
        </p:txBody>
      </p:sp>
      <p:sp>
        <p:nvSpPr>
          <p:cNvPr id="9"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rgbClr val="6D6E7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itle 8"/>
          <p:cNvSpPr>
            <a:spLocks noGrp="1"/>
          </p:cNvSpPr>
          <p:nvPr>
            <p:ph type="title"/>
          </p:nvPr>
        </p:nvSpPr>
        <p:spPr bwMode="gray">
          <a:xfrm>
            <a:off x="1827213" y="2138234"/>
            <a:ext cx="5511800" cy="1323439"/>
          </a:xfrm>
        </p:spPr>
        <p:txBody>
          <a:bodyPr>
            <a:spAutoFit/>
          </a:bodyPr>
          <a:lstStyle>
            <a:lvl1pPr algn="l">
              <a:defRPr sz="4000" b="1">
                <a:solidFill>
                  <a:srgbClr val="E31819"/>
                </a:solidFill>
                <a:latin typeface="Arial" pitchFamily="34" charset="0"/>
                <a:cs typeface="Arial" pitchFamily="34" charset="0"/>
              </a:defRPr>
            </a:lvl1pPr>
          </a:lstStyle>
          <a:p>
            <a:r>
              <a:rPr lang="en-US" smtClean="0"/>
              <a:t>Click to edit Master title style</a:t>
            </a:r>
            <a:endParaRPr lang="en-US" dirty="0"/>
          </a:p>
        </p:txBody>
      </p:sp>
      <p:sp>
        <p:nvSpPr>
          <p:cNvPr id="7" name="Footer Placeholder 1"/>
          <p:cNvSpPr>
            <a:spLocks noGrp="1"/>
          </p:cNvSpPr>
          <p:nvPr>
            <p:ph type="ftr" sz="quarter" idx="10"/>
          </p:nvPr>
        </p:nvSpPr>
        <p:spPr>
          <a:xfrm>
            <a:off x="6224588" y="6454775"/>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srgbClr val="FFFFFF"/>
                </a:solidFill>
                <a:latin typeface="+mn-lt"/>
                <a:cs typeface="Arial" charset="0"/>
              </a:defRPr>
            </a:lvl1pPr>
          </a:lstStyle>
          <a:p>
            <a:endParaRPr lang="en-US" dirty="0"/>
          </a:p>
        </p:txBody>
      </p:sp>
    </p:spTree>
    <p:extLst>
      <p:ext uri="{BB962C8B-B14F-4D97-AF65-F5344CB8AC3E}">
        <p14:creationId xmlns:p14="http://schemas.microsoft.com/office/powerpoint/2010/main" val="4053814672"/>
      </p:ext>
    </p:extLst>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7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40"/>
            <a:ext cx="822483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357"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477328"/>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032" indent="-285737">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420" indent="-273038">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124" indent="-228590">
              <a:spcBef>
                <a:spcPts val="0"/>
              </a:spcBef>
              <a:spcAft>
                <a:spcPts val="0"/>
              </a:spcAft>
              <a:buSzPct val="70000"/>
              <a:defRPr sz="1800" baseline="0">
                <a:latin typeface="Arial" pitchFamily="34" charset="0"/>
                <a:cs typeface="Arial" pitchFamily="34" charset="0"/>
              </a:defRPr>
            </a:lvl8pPr>
            <a:lvl9pPr marL="1823952" indent="-223828">
              <a:spcBef>
                <a:spcPts val="0"/>
              </a:spcBef>
              <a:spcAft>
                <a:spcPts val="0"/>
              </a:spcAft>
              <a:buSzPct val="70000"/>
              <a:buFont typeface="Arial" pitchFamily="34" charset="0"/>
              <a:buChar char="–"/>
              <a:defRPr sz="1800">
                <a:latin typeface="Arial" pitchFamily="34" charset="0"/>
                <a:cs typeface="Arial" pitchFamily="34" charset="0"/>
              </a:defRPr>
            </a:lvl9pPr>
          </a:lstStyle>
          <a:p>
            <a:pPr marL="290499" lvl="0" indent="-290499" algn="l" defTabSz="914357"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473" lvl="2" indent="-279386" algn="l" defTabSz="914357"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860" lvl="3" indent="-279386" algn="l" defTabSz="914357"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596" lvl="4" indent="-285737" algn="l" defTabSz="933406"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032" lvl="5" indent="-285737" algn="l" defTabSz="914357"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411530923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4_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05099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82717017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987986"/>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rgbClr val="6D6E7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itle 8"/>
          <p:cNvSpPr>
            <a:spLocks noGrp="1"/>
          </p:cNvSpPr>
          <p:nvPr>
            <p:ph type="title"/>
          </p:nvPr>
        </p:nvSpPr>
        <p:spPr bwMode="gray">
          <a:xfrm>
            <a:off x="1827213" y="2138234"/>
            <a:ext cx="5511800" cy="1323439"/>
          </a:xfrm>
        </p:spPr>
        <p:txBody>
          <a:bodyPr>
            <a:spAutoFit/>
          </a:bodyPr>
          <a:lstStyle>
            <a:lvl1pPr algn="l">
              <a:defRPr sz="4000" b="1">
                <a:solidFill>
                  <a:srgbClr val="E31819"/>
                </a:solidFill>
                <a:latin typeface="Arial" pitchFamily="34" charset="0"/>
                <a:cs typeface="Arial" pitchFamily="34" charset="0"/>
              </a:defRPr>
            </a:lvl1pPr>
          </a:lstStyle>
          <a:p>
            <a:r>
              <a:rPr lang="en-US" smtClean="0"/>
              <a:t>Click to edit Master title style</a:t>
            </a:r>
            <a:endParaRPr lang="en-US" dirty="0"/>
          </a:p>
        </p:txBody>
      </p:sp>
      <p:sp>
        <p:nvSpPr>
          <p:cNvPr id="7" name="Footer Placeholder 1"/>
          <p:cNvSpPr>
            <a:spLocks noGrp="1"/>
          </p:cNvSpPr>
          <p:nvPr>
            <p:ph type="ftr" sz="quarter" idx="10"/>
          </p:nvPr>
        </p:nvSpPr>
        <p:spPr>
          <a:xfrm>
            <a:off x="6224588" y="6454775"/>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srgbClr val="FFFFFF"/>
                </a:solidFill>
                <a:latin typeface="+mn-lt"/>
                <a:cs typeface="Arial" charset="0"/>
              </a:defRPr>
            </a:lvl1pPr>
          </a:lstStyle>
          <a:p>
            <a:endParaRPr lang="en-US" dirty="0"/>
          </a:p>
        </p:txBody>
      </p:sp>
    </p:spTree>
    <p:extLst>
      <p:ext uri="{BB962C8B-B14F-4D97-AF65-F5344CB8AC3E}">
        <p14:creationId xmlns:p14="http://schemas.microsoft.com/office/powerpoint/2010/main" val="4161094143"/>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BBF572C-E4D3-4640-B29B-03ADF395AE96}" type="datetimeFigureOut">
              <a:rPr lang="en-US" smtClean="0">
                <a:solidFill>
                  <a:prstClr val="black"/>
                </a:solidFill>
              </a:rPr>
              <a:pPr/>
              <a:t>12/5/2016</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1E4D011-A839-4380-9EA8-6BB73EFFC80E}"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682399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481012" y="1971675"/>
            <a:ext cx="8224838"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00878863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2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801" y="182880"/>
            <a:ext cx="6831874" cy="49244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892844"/>
            <a:ext cx="8224838" cy="4492189"/>
          </a:xfrm>
        </p:spPr>
        <p:txBody>
          <a:bodyPr/>
          <a:lstStyle>
            <a:lvl1pPr algn="l" rtl="0" eaLnBrk="1" latinLnBrk="0" hangingPunct="1">
              <a:spcBef>
                <a:spcPts val="0"/>
              </a:spcBef>
              <a:spcAft>
                <a:spcPts val="0"/>
              </a:spcAft>
              <a:buClr>
                <a:schemeClr val="bg2"/>
              </a:buClr>
              <a:buSzPct val="120000"/>
              <a:defRPr lang="en-US" sz="24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20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6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457200" y="731520"/>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539695115"/>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801" y="182880"/>
            <a:ext cx="6831874" cy="49244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892844"/>
            <a:ext cx="8224838" cy="4492189"/>
          </a:xfrm>
        </p:spPr>
        <p:txBody>
          <a:bodyPr/>
          <a:lstStyle>
            <a:lvl1pPr algn="l" rtl="0" eaLnBrk="1" latinLnBrk="0" hangingPunct="1">
              <a:spcBef>
                <a:spcPts val="0"/>
              </a:spcBef>
              <a:spcAft>
                <a:spcPts val="0"/>
              </a:spcAft>
              <a:buClr>
                <a:schemeClr val="bg2"/>
              </a:buClr>
              <a:buSzPct val="120000"/>
              <a:defRPr lang="en-US" sz="24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20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6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457200" y="731520"/>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143093768"/>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4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40" y="719140"/>
            <a:ext cx="8224837" cy="430887"/>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800" b="1" kern="1200" dirty="0">
                <a:solidFill>
                  <a:schemeClr val="tx2"/>
                </a:solidFill>
                <a:latin typeface="Arial" pitchFamily="34" charset="0"/>
                <a:ea typeface="+mj-ea"/>
                <a:cs typeface="Arial" pitchFamily="34" charset="0"/>
              </a:defRPr>
            </a:lvl1pPr>
          </a:lstStyle>
          <a:p>
            <a:pPr lvl="0" algn="l" defTabSz="778477"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41" y="1971679"/>
            <a:ext cx="8224837" cy="1231106"/>
          </a:xfrm>
        </p:spPr>
        <p:txBody>
          <a:bodyPr wrap="square">
            <a:spAutoFit/>
          </a:bodyPr>
          <a:lstStyle>
            <a:lvl1pPr algn="l" rtl="0" eaLnBrk="1" latinLnBrk="0" hangingPunct="1">
              <a:spcBef>
                <a:spcPts val="0"/>
              </a:spcBef>
              <a:spcAft>
                <a:spcPts val="0"/>
              </a:spcAft>
              <a:buClr>
                <a:schemeClr val="bg2"/>
              </a:buClr>
              <a:buSzPct val="120000"/>
              <a:defRPr lang="en-US" sz="16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6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6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6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600" b="0" kern="1200" baseline="0" dirty="0" smtClean="0">
                <a:solidFill>
                  <a:schemeClr val="tx1"/>
                </a:solidFill>
                <a:latin typeface="Arial" pitchFamily="34" charset="0"/>
                <a:ea typeface="+mn-ea"/>
                <a:cs typeface="Arial" pitchFamily="34" charset="0"/>
              </a:defRPr>
            </a:lvl5pPr>
            <a:lvl6pPr marL="1221758" indent="-243268">
              <a:spcBef>
                <a:spcPts val="0"/>
              </a:spcBef>
              <a:spcAft>
                <a:spcPts val="0"/>
              </a:spcAft>
              <a:buClr>
                <a:schemeClr val="tx2"/>
              </a:buClr>
              <a:buSzPct val="70000"/>
              <a:buFont typeface="Wingdings" pitchFamily="2" charset="2"/>
              <a:buChar char="§"/>
              <a:defRPr lang="en-US" sz="1600" kern="1200" dirty="0" smtClean="0">
                <a:solidFill>
                  <a:schemeClr val="tx1"/>
                </a:solidFill>
                <a:latin typeface="Arial" pitchFamily="34" charset="0"/>
                <a:ea typeface="+mn-ea"/>
                <a:cs typeface="Arial" pitchFamily="34" charset="0"/>
              </a:defRPr>
            </a:lvl6pPr>
            <a:lvl7pPr marL="1459629" indent="-232460">
              <a:spcBef>
                <a:spcPts val="0"/>
              </a:spcBef>
              <a:spcAft>
                <a:spcPts val="0"/>
              </a:spcAft>
              <a:buClr>
                <a:schemeClr val="tx2"/>
              </a:buClr>
              <a:buSzPct val="70000"/>
              <a:buFont typeface="Arial" pitchFamily="34" charset="0"/>
              <a:buChar char="–"/>
              <a:defRPr sz="1600" baseline="0">
                <a:solidFill>
                  <a:schemeClr val="tx1"/>
                </a:solidFill>
                <a:latin typeface="+mn-lt"/>
                <a:cs typeface="Arial" pitchFamily="34" charset="0"/>
              </a:defRPr>
            </a:lvl7pPr>
            <a:lvl8pPr marL="1362317" indent="-194615">
              <a:spcBef>
                <a:spcPts val="0"/>
              </a:spcBef>
              <a:spcAft>
                <a:spcPts val="0"/>
              </a:spcAft>
              <a:buSzPct val="70000"/>
              <a:defRPr sz="1600" baseline="0">
                <a:latin typeface="Arial" pitchFamily="34" charset="0"/>
                <a:cs typeface="Arial" pitchFamily="34" charset="0"/>
              </a:defRPr>
            </a:lvl8pPr>
            <a:lvl9pPr marL="1552883" indent="-190561">
              <a:spcBef>
                <a:spcPts val="0"/>
              </a:spcBef>
              <a:spcAft>
                <a:spcPts val="0"/>
              </a:spcAft>
              <a:buSzPct val="70000"/>
              <a:buFont typeface="Arial" pitchFamily="34" charset="0"/>
              <a:buChar char="–"/>
              <a:defRPr sz="1600">
                <a:latin typeface="Arial" pitchFamily="34" charset="0"/>
                <a:cs typeface="Arial" pitchFamily="34" charset="0"/>
              </a:defRPr>
            </a:lvl9pPr>
          </a:lstStyle>
          <a:p>
            <a:pPr marL="247325" lvl="0" indent="-247325" algn="l" defTabSz="778477"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86544" lvl="2" indent="-237867" algn="l" defTabSz="778477"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724408" lvl="3" indent="-237867" algn="l" defTabSz="778477"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967676" lvl="4" indent="-243268" algn="l" defTabSz="794685"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221758" lvl="5" indent="-243268" algn="l" defTabSz="778477"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481041" y="1270454"/>
            <a:ext cx="8224837" cy="24622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8234564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Content slide">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302959" y="1465509"/>
            <a:ext cx="8544207" cy="1723549"/>
          </a:xfrm>
        </p:spPr>
        <p:txBody>
          <a:bodyPr wrap="square">
            <a:sp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221758" indent="-243268">
              <a:spcBef>
                <a:spcPts val="0"/>
              </a:spcBef>
              <a:spcAft>
                <a:spcPts val="0"/>
              </a:spcAft>
              <a:buClr>
                <a:schemeClr val="tx2"/>
              </a:buClr>
              <a:buSzPct val="70000"/>
              <a:buFont typeface="Wingdings" pitchFamily="2" charset="2"/>
              <a:buChar char="§"/>
              <a:defRPr sz="1600">
                <a:latin typeface="Arial" pitchFamily="34" charset="0"/>
                <a:cs typeface="Arial" pitchFamily="34" charset="0"/>
              </a:defRPr>
            </a:lvl6pPr>
            <a:lvl7pPr marL="1459629" indent="-232460">
              <a:spcBef>
                <a:spcPts val="0"/>
              </a:spcBef>
              <a:spcAft>
                <a:spcPts val="0"/>
              </a:spcAft>
              <a:buClr>
                <a:srgbClr val="C00000"/>
              </a:buClr>
              <a:buSzPct val="70000"/>
              <a:buFont typeface="Arial" pitchFamily="34" charset="0"/>
              <a:buChar char="–"/>
              <a:defRPr sz="1600" baseline="0">
                <a:latin typeface="Arial" pitchFamily="34" charset="0"/>
                <a:cs typeface="Arial" pitchFamily="34" charset="0"/>
              </a:defRPr>
            </a:lvl7pPr>
            <a:lvl8pPr marL="1362317" indent="-194615">
              <a:spcBef>
                <a:spcPts val="0"/>
              </a:spcBef>
              <a:spcAft>
                <a:spcPts val="0"/>
              </a:spcAft>
              <a:buSzPct val="70000"/>
              <a:defRPr sz="1600" baseline="0">
                <a:latin typeface="Arial" pitchFamily="34" charset="0"/>
                <a:cs typeface="Arial" pitchFamily="34" charset="0"/>
              </a:defRPr>
            </a:lvl8pPr>
            <a:lvl9pPr marL="1552883" indent="-190561">
              <a:spcBef>
                <a:spcPts val="0"/>
              </a:spcBef>
              <a:spcAft>
                <a:spcPts val="0"/>
              </a:spcAft>
              <a:buSzPct val="70000"/>
              <a:buFont typeface="Arial" pitchFamily="34" charset="0"/>
              <a:buChar char="–"/>
              <a:defRPr sz="16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
        <p:nvSpPr>
          <p:cNvPr id="6" name="Title Placeholder 1"/>
          <p:cNvSpPr>
            <a:spLocks noGrp="1"/>
          </p:cNvSpPr>
          <p:nvPr>
            <p:ph type="title"/>
          </p:nvPr>
        </p:nvSpPr>
        <p:spPr>
          <a:xfrm>
            <a:off x="304827" y="588332"/>
            <a:ext cx="8539163"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l" rtl="0" eaLnBrk="1" fontAlgn="base" hangingPunct="1">
              <a:spcBef>
                <a:spcPct val="0"/>
              </a:spcBef>
              <a:spcAft>
                <a:spcPct val="0"/>
              </a:spcAft>
            </a:pPr>
            <a:r>
              <a:rPr lang="en-US" smtClean="0"/>
              <a:t>Click to edit Master title style</a:t>
            </a:r>
            <a:endParaRPr lang="en-US" dirty="0"/>
          </a:p>
        </p:txBody>
      </p:sp>
    </p:spTree>
    <p:extLst>
      <p:ext uri="{BB962C8B-B14F-4D97-AF65-F5344CB8AC3E}">
        <p14:creationId xmlns:p14="http://schemas.microsoft.com/office/powerpoint/2010/main" val="860971214"/>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0041" y="2217921"/>
            <a:ext cx="4040188" cy="276999"/>
          </a:xfrm>
        </p:spPr>
        <p:txBody>
          <a:bodyPr anchor="b"/>
          <a:lstStyle>
            <a:lvl1pPr marL="0" indent="0">
              <a:buNone/>
              <a:defRPr sz="1800" b="1"/>
            </a:lvl1pPr>
            <a:lvl2pPr marL="389237" indent="0">
              <a:buNone/>
              <a:defRPr sz="1800" b="1"/>
            </a:lvl2pPr>
            <a:lvl3pPr marL="778477" indent="0">
              <a:buNone/>
              <a:defRPr sz="1600" b="1"/>
            </a:lvl3pPr>
            <a:lvl4pPr marL="1167702" indent="0">
              <a:buNone/>
              <a:defRPr sz="1300" b="1"/>
            </a:lvl4pPr>
            <a:lvl5pPr marL="1556936" indent="0">
              <a:buNone/>
              <a:defRPr sz="1300" b="1"/>
            </a:lvl5pPr>
            <a:lvl6pPr marL="1946168" indent="0">
              <a:buNone/>
              <a:defRPr sz="1300" b="1"/>
            </a:lvl6pPr>
            <a:lvl7pPr marL="2335404" indent="0">
              <a:buNone/>
              <a:defRPr sz="1300" b="1"/>
            </a:lvl7pPr>
            <a:lvl8pPr marL="2724632" indent="0">
              <a:buNone/>
              <a:defRPr sz="1300" b="1"/>
            </a:lvl8pPr>
            <a:lvl9pPr marL="3113869" indent="0">
              <a:buNone/>
              <a:defRPr sz="1300" b="1"/>
            </a:lvl9pPr>
          </a:lstStyle>
          <a:p>
            <a:pPr lvl="0"/>
            <a:r>
              <a:rPr lang="en-US" smtClean="0"/>
              <a:t>Click to edit Master text styles</a:t>
            </a:r>
          </a:p>
        </p:txBody>
      </p:sp>
      <p:sp>
        <p:nvSpPr>
          <p:cNvPr id="4" name="Content Placeholder 3"/>
          <p:cNvSpPr>
            <a:spLocks noGrp="1"/>
          </p:cNvSpPr>
          <p:nvPr>
            <p:ph sz="half" idx="2"/>
          </p:nvPr>
        </p:nvSpPr>
        <p:spPr>
          <a:xfrm>
            <a:off x="320041" y="2494916"/>
            <a:ext cx="4040188" cy="1092607"/>
          </a:xfrm>
        </p:spPr>
        <p:txBody>
          <a:bodyPr/>
          <a:lstStyle>
            <a:lvl1pPr>
              <a:defRPr sz="1800"/>
            </a:lvl1pPr>
            <a:lvl2pPr>
              <a:defRPr sz="1600"/>
            </a:lvl2pPr>
            <a:lvl3pPr>
              <a:defRPr sz="1300"/>
            </a:lvl3pPr>
            <a:lvl4pPr>
              <a:defRPr sz="1200"/>
            </a:lvl4pPr>
            <a:lvl5pPr>
              <a:defRPr sz="12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36493" y="2217921"/>
            <a:ext cx="4041775" cy="276999"/>
          </a:xfrm>
        </p:spPr>
        <p:txBody>
          <a:bodyPr anchor="b"/>
          <a:lstStyle>
            <a:lvl1pPr marL="0" indent="0">
              <a:buNone/>
              <a:defRPr sz="1800" b="1"/>
            </a:lvl1pPr>
            <a:lvl2pPr marL="389237" indent="0">
              <a:buNone/>
              <a:defRPr sz="1800" b="1"/>
            </a:lvl2pPr>
            <a:lvl3pPr marL="778477" indent="0">
              <a:buNone/>
              <a:defRPr sz="1600" b="1"/>
            </a:lvl3pPr>
            <a:lvl4pPr marL="1167702" indent="0">
              <a:buNone/>
              <a:defRPr sz="1300" b="1"/>
            </a:lvl4pPr>
            <a:lvl5pPr marL="1556936" indent="0">
              <a:buNone/>
              <a:defRPr sz="1300" b="1"/>
            </a:lvl5pPr>
            <a:lvl6pPr marL="1946168" indent="0">
              <a:buNone/>
              <a:defRPr sz="1300" b="1"/>
            </a:lvl6pPr>
            <a:lvl7pPr marL="2335404" indent="0">
              <a:buNone/>
              <a:defRPr sz="1300" b="1"/>
            </a:lvl7pPr>
            <a:lvl8pPr marL="2724632" indent="0">
              <a:buNone/>
              <a:defRPr sz="1300" b="1"/>
            </a:lvl8pPr>
            <a:lvl9pPr marL="3113869" indent="0">
              <a:buNone/>
              <a:defRPr sz="1300" b="1"/>
            </a:lvl9pPr>
          </a:lstStyle>
          <a:p>
            <a:pPr lvl="0"/>
            <a:r>
              <a:rPr lang="en-US" smtClean="0"/>
              <a:t>Click to edit Master text styles</a:t>
            </a:r>
          </a:p>
        </p:txBody>
      </p:sp>
      <p:sp>
        <p:nvSpPr>
          <p:cNvPr id="6" name="Content Placeholder 5"/>
          <p:cNvSpPr>
            <a:spLocks noGrp="1"/>
          </p:cNvSpPr>
          <p:nvPr>
            <p:ph sz="quarter" idx="4"/>
          </p:nvPr>
        </p:nvSpPr>
        <p:spPr>
          <a:xfrm>
            <a:off x="4736493" y="2494916"/>
            <a:ext cx="4041775" cy="1092607"/>
          </a:xfrm>
        </p:spPr>
        <p:txBody>
          <a:bodyPr/>
          <a:lstStyle>
            <a:lvl1pPr>
              <a:defRPr sz="1800"/>
            </a:lvl1pPr>
            <a:lvl2pPr>
              <a:defRPr sz="1600"/>
            </a:lvl2pPr>
            <a:lvl3pPr>
              <a:defRPr sz="1300"/>
            </a:lvl3pPr>
            <a:lvl4pPr>
              <a:defRPr sz="1200"/>
            </a:lvl4pPr>
            <a:lvl5pPr>
              <a:defRPr sz="12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Rectangle 3"/>
          <p:cNvSpPr>
            <a:spLocks noGrp="1" noChangeArrowheads="1"/>
          </p:cNvSpPr>
          <p:nvPr>
            <p:ph type="title"/>
          </p:nvPr>
        </p:nvSpPr>
        <p:spPr bwMode="auto">
          <a:xfrm>
            <a:off x="301626" y="1143003"/>
            <a:ext cx="8521700" cy="430887"/>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3705207628"/>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hank You">
    <p:spTree>
      <p:nvGrpSpPr>
        <p:cNvPr id="1" name=""/>
        <p:cNvGrpSpPr/>
        <p:nvPr/>
      </p:nvGrpSpPr>
      <p:grpSpPr>
        <a:xfrm>
          <a:off x="0" y="0"/>
          <a:ext cx="0" cy="0"/>
          <a:chOff x="0" y="0"/>
          <a:chExt cx="0" cy="0"/>
        </a:xfrm>
      </p:grpSpPr>
      <p:pic>
        <p:nvPicPr>
          <p:cNvPr id="2" name="Picture 9" descr="E:\Documents and Settings\Administrator\Desktop\glc istock\ist2_3950759-cube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89215" y="1981212"/>
            <a:ext cx="3963986" cy="2606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8463707"/>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440893"/>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2">
    <p:spTree>
      <p:nvGrpSpPr>
        <p:cNvPr id="1" name=""/>
        <p:cNvGrpSpPr/>
        <p:nvPr/>
      </p:nvGrpSpPr>
      <p:grpSpPr>
        <a:xfrm>
          <a:off x="0" y="0"/>
          <a:ext cx="0" cy="0"/>
          <a:chOff x="0" y="0"/>
          <a:chExt cx="0" cy="0"/>
        </a:xfrm>
      </p:grpSpPr>
      <p:sp>
        <p:nvSpPr>
          <p:cNvPr id="2" name="Title 1"/>
          <p:cNvSpPr>
            <a:spLocks noGrp="1"/>
          </p:cNvSpPr>
          <p:nvPr>
            <p:ph type="title"/>
          </p:nvPr>
        </p:nvSpPr>
        <p:spPr>
          <a:xfrm>
            <a:off x="457203" y="304804"/>
            <a:ext cx="8212136" cy="430887"/>
          </a:xfrm>
        </p:spPr>
        <p:txBody>
          <a:bodyPr/>
          <a:lstStyle>
            <a:lvl1pPr algn="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60" y="960454"/>
            <a:ext cx="4170595" cy="5303836"/>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Text Placeholder 4"/>
          <p:cNvSpPr>
            <a:spLocks noGrp="1"/>
          </p:cNvSpPr>
          <p:nvPr>
            <p:ph type="body" sz="quarter" idx="11" hasCustomPrompt="1"/>
          </p:nvPr>
        </p:nvSpPr>
        <p:spPr>
          <a:xfrm>
            <a:off x="4648229" y="960454"/>
            <a:ext cx="4170595" cy="5303836"/>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Text Placeholder 4"/>
          <p:cNvSpPr>
            <a:spLocks noGrp="1"/>
          </p:cNvSpPr>
          <p:nvPr>
            <p:ph type="body" sz="quarter" idx="12" hasCustomPrompt="1"/>
          </p:nvPr>
        </p:nvSpPr>
        <p:spPr>
          <a:xfrm>
            <a:off x="302960" y="960449"/>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a:xfrm>
            <a:off x="4648229" y="960449"/>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2</a:t>
            </a:r>
          </a:p>
        </p:txBody>
      </p:sp>
    </p:spTree>
    <p:extLst>
      <p:ext uri="{BB962C8B-B14F-4D97-AF65-F5344CB8AC3E}">
        <p14:creationId xmlns:p14="http://schemas.microsoft.com/office/powerpoint/2010/main" val="3501387981"/>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4">
    <p:spTree>
      <p:nvGrpSpPr>
        <p:cNvPr id="1" name=""/>
        <p:cNvGrpSpPr/>
        <p:nvPr/>
      </p:nvGrpSpPr>
      <p:grpSpPr>
        <a:xfrm>
          <a:off x="0" y="0"/>
          <a:ext cx="0" cy="0"/>
          <a:chOff x="0" y="0"/>
          <a:chExt cx="0" cy="0"/>
        </a:xfrm>
      </p:grpSpPr>
      <p:sp>
        <p:nvSpPr>
          <p:cNvPr id="9" name="Title 1"/>
          <p:cNvSpPr>
            <a:spLocks noGrp="1"/>
          </p:cNvSpPr>
          <p:nvPr>
            <p:ph type="title"/>
          </p:nvPr>
        </p:nvSpPr>
        <p:spPr>
          <a:xfrm>
            <a:off x="304827" y="469490"/>
            <a:ext cx="8539163" cy="430887"/>
          </a:xfrm>
        </p:spPr>
        <p:txBody>
          <a:bodyPr/>
          <a:lstStyle>
            <a:lvl1pPr algn="l">
              <a:defRPr/>
            </a:lvl1pPr>
          </a:lstStyle>
          <a:p>
            <a:r>
              <a:rPr lang="en-US" smtClean="0"/>
              <a:t>Click to edit Master title style</a:t>
            </a:r>
            <a:endParaRPr lang="en-US" dirty="0"/>
          </a:p>
        </p:txBody>
      </p:sp>
      <p:sp>
        <p:nvSpPr>
          <p:cNvPr id="11" name="Text Placeholder 4"/>
          <p:cNvSpPr>
            <a:spLocks noGrp="1"/>
          </p:cNvSpPr>
          <p:nvPr>
            <p:ph type="body" sz="quarter" idx="10" hasCustomPrompt="1"/>
          </p:nvPr>
        </p:nvSpPr>
        <p:spPr>
          <a:xfrm>
            <a:off x="302960" y="961441"/>
            <a:ext cx="4170595" cy="2561421"/>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4"/>
          <p:cNvSpPr>
            <a:spLocks noGrp="1"/>
          </p:cNvSpPr>
          <p:nvPr>
            <p:ph type="body" sz="quarter" idx="11" hasCustomPrompt="1"/>
          </p:nvPr>
        </p:nvSpPr>
        <p:spPr>
          <a:xfrm>
            <a:off x="4648229" y="961441"/>
            <a:ext cx="4170595" cy="2561421"/>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Text Placeholder 4"/>
          <p:cNvSpPr>
            <a:spLocks noGrp="1"/>
          </p:cNvSpPr>
          <p:nvPr>
            <p:ph type="body" sz="quarter" idx="12" hasCustomPrompt="1"/>
          </p:nvPr>
        </p:nvSpPr>
        <p:spPr>
          <a:xfrm>
            <a:off x="302960" y="961427"/>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1</a:t>
            </a:r>
          </a:p>
        </p:txBody>
      </p:sp>
      <p:sp>
        <p:nvSpPr>
          <p:cNvPr id="14" name="Text Placeholder 4"/>
          <p:cNvSpPr>
            <a:spLocks noGrp="1"/>
          </p:cNvSpPr>
          <p:nvPr>
            <p:ph type="body" sz="quarter" idx="13" hasCustomPrompt="1"/>
          </p:nvPr>
        </p:nvSpPr>
        <p:spPr>
          <a:xfrm>
            <a:off x="4648229" y="961427"/>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2</a:t>
            </a:r>
          </a:p>
        </p:txBody>
      </p:sp>
      <p:sp>
        <p:nvSpPr>
          <p:cNvPr id="15" name="Text Placeholder 4"/>
          <p:cNvSpPr>
            <a:spLocks noGrp="1"/>
          </p:cNvSpPr>
          <p:nvPr>
            <p:ph type="body" sz="quarter" idx="14" hasCustomPrompt="1"/>
          </p:nvPr>
        </p:nvSpPr>
        <p:spPr>
          <a:xfrm>
            <a:off x="302960" y="3702884"/>
            <a:ext cx="4170595" cy="2561421"/>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6" name="Text Placeholder 4"/>
          <p:cNvSpPr>
            <a:spLocks noGrp="1"/>
          </p:cNvSpPr>
          <p:nvPr>
            <p:ph type="body" sz="quarter" idx="15" hasCustomPrompt="1"/>
          </p:nvPr>
        </p:nvSpPr>
        <p:spPr>
          <a:xfrm>
            <a:off x="4648229" y="3702884"/>
            <a:ext cx="4170595" cy="2561421"/>
          </a:xfrm>
          <a:ln>
            <a:solidFill>
              <a:schemeClr val="bg2"/>
            </a:solidFill>
          </a:ln>
        </p:spPr>
        <p:txBody>
          <a:bodyPr wrap="square" lIns="77848" tIns="467084" rIns="77848" bIns="77848">
            <a:noAutofit/>
          </a:bodyPr>
          <a:lstStyle>
            <a:lvl1pPr>
              <a:spcBef>
                <a:spcPts val="0"/>
              </a:spcBef>
              <a:spcAft>
                <a:spcPts val="0"/>
              </a:spcAft>
              <a:defRPr sz="1600">
                <a:latin typeface="Arial" pitchFamily="34" charset="0"/>
                <a:cs typeface="Arial" pitchFamily="34" charset="0"/>
              </a:defRPr>
            </a:lvl1pPr>
            <a:lvl2pPr>
              <a:spcBef>
                <a:spcPts val="0"/>
              </a:spcBef>
              <a:spcAft>
                <a:spcPts val="0"/>
              </a:spcAft>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7" name="Text Placeholder 4"/>
          <p:cNvSpPr>
            <a:spLocks noGrp="1"/>
          </p:cNvSpPr>
          <p:nvPr>
            <p:ph type="body" sz="quarter" idx="16" hasCustomPrompt="1"/>
          </p:nvPr>
        </p:nvSpPr>
        <p:spPr>
          <a:xfrm>
            <a:off x="302960" y="3702868"/>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3</a:t>
            </a:r>
          </a:p>
        </p:txBody>
      </p:sp>
      <p:sp>
        <p:nvSpPr>
          <p:cNvPr id="18" name="Text Placeholder 4"/>
          <p:cNvSpPr>
            <a:spLocks noGrp="1"/>
          </p:cNvSpPr>
          <p:nvPr>
            <p:ph type="body" sz="quarter" idx="17" hasCustomPrompt="1"/>
          </p:nvPr>
        </p:nvSpPr>
        <p:spPr>
          <a:xfrm>
            <a:off x="4648229" y="3702868"/>
            <a:ext cx="4170595" cy="403438"/>
          </a:xfrm>
          <a:solidFill>
            <a:schemeClr val="bg2"/>
          </a:solidFill>
          <a:ln>
            <a:noFill/>
          </a:ln>
        </p:spPr>
        <p:txBody>
          <a:bodyPr wrap="square" lIns="77848" tIns="77848" rIns="77848" bIns="77848">
            <a:spAutoFit/>
          </a:bodyPr>
          <a:lstStyle>
            <a:lvl1pPr>
              <a:spcBef>
                <a:spcPts val="0"/>
              </a:spcBef>
              <a:spcAft>
                <a:spcPts val="0"/>
              </a:spcAft>
              <a:defRPr sz="1600" b="1">
                <a:solidFill>
                  <a:schemeClr val="bg1"/>
                </a:solidFill>
                <a:latin typeface="Arial" pitchFamily="34" charset="0"/>
                <a:cs typeface="Arial" pitchFamily="34" charset="0"/>
              </a:defRPr>
            </a:lvl1pPr>
            <a:lvl2pPr>
              <a:spcBef>
                <a:spcPts val="0"/>
              </a:spcBef>
              <a:spcAft>
                <a:spcPts val="0"/>
              </a:spcAft>
              <a:defRPr sz="1600">
                <a:latin typeface="+mj-lt"/>
              </a:defRPr>
            </a:lvl2pPr>
            <a:lvl3pPr>
              <a:spcBef>
                <a:spcPts val="0"/>
              </a:spcBef>
              <a:spcAft>
                <a:spcPts val="0"/>
              </a:spcAft>
              <a:defRPr sz="1600">
                <a:latin typeface="+mj-lt"/>
              </a:defRPr>
            </a:lvl3pPr>
            <a:lvl4pPr>
              <a:spcBef>
                <a:spcPts val="0"/>
              </a:spcBef>
              <a:spcAft>
                <a:spcPts val="0"/>
              </a:spcAft>
              <a:defRPr sz="1600">
                <a:latin typeface="+mj-lt"/>
              </a:defRPr>
            </a:lvl4pPr>
            <a:lvl5pPr>
              <a:spcBef>
                <a:spcPts val="0"/>
              </a:spcBef>
              <a:spcAft>
                <a:spcPts val="0"/>
              </a:spcAft>
              <a:defRPr sz="1600">
                <a:latin typeface="+mj-lt"/>
              </a:defRPr>
            </a:lvl5pPr>
            <a:lvl6pPr marL="973074" indent="-198659">
              <a:spcBef>
                <a:spcPts val="0"/>
              </a:spcBef>
              <a:spcAft>
                <a:spcPts val="0"/>
              </a:spcAft>
              <a:buSzPct val="70000"/>
              <a:defRPr sz="1600">
                <a:latin typeface="+mj-lt"/>
              </a:defRPr>
            </a:lvl6pPr>
            <a:lvl7pPr marL="1167702" indent="-194615">
              <a:spcBef>
                <a:spcPts val="0"/>
              </a:spcBef>
              <a:spcAft>
                <a:spcPts val="0"/>
              </a:spcAft>
              <a:buSzPct val="70000"/>
              <a:buFont typeface="Arial" pitchFamily="34" charset="0"/>
              <a:buChar char="–"/>
              <a:defRPr sz="1600" baseline="0">
                <a:latin typeface="+mj-lt"/>
              </a:defRPr>
            </a:lvl7pPr>
            <a:lvl8pPr marL="1362317" indent="-194615">
              <a:spcBef>
                <a:spcPts val="0"/>
              </a:spcBef>
              <a:spcAft>
                <a:spcPts val="0"/>
              </a:spcAft>
              <a:buSzPct val="70000"/>
              <a:defRPr sz="1600" baseline="0">
                <a:latin typeface="+mj-lt"/>
              </a:defRPr>
            </a:lvl8pPr>
            <a:lvl9pPr marL="1552883" indent="-190561">
              <a:spcBef>
                <a:spcPts val="0"/>
              </a:spcBef>
              <a:spcAft>
                <a:spcPts val="0"/>
              </a:spcAft>
              <a:buSzPct val="70000"/>
              <a:buFont typeface="Arial" pitchFamily="34" charset="0"/>
              <a:buChar char="–"/>
              <a:defRPr sz="1600">
                <a:latin typeface="+mj-lt"/>
              </a:defRPr>
            </a:lvl9pPr>
          </a:lstStyle>
          <a:p>
            <a:pPr lvl="0"/>
            <a:r>
              <a:rPr lang="en-US" dirty="0" smtClean="0"/>
              <a:t>Heading 4</a:t>
            </a:r>
          </a:p>
        </p:txBody>
      </p:sp>
    </p:spTree>
    <p:extLst>
      <p:ext uri="{BB962C8B-B14F-4D97-AF65-F5344CB8AC3E}">
        <p14:creationId xmlns:p14="http://schemas.microsoft.com/office/powerpoint/2010/main" val="325884964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481012" y="1971675"/>
            <a:ext cx="8224838"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577853" y="1489287"/>
            <a:ext cx="8113713" cy="1231106"/>
          </a:xfr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Placeholder 1"/>
          <p:cNvSpPr>
            <a:spLocks noGrp="1"/>
          </p:cNvSpPr>
          <p:nvPr>
            <p:ph type="title"/>
          </p:nvPr>
        </p:nvSpPr>
        <p:spPr bwMode="black">
          <a:xfrm>
            <a:off x="576073" y="182885"/>
            <a:ext cx="8119872" cy="731521"/>
          </a:xfrm>
          <a:prstGeom prst="rect">
            <a:avLst/>
          </a:prstGeom>
        </p:spPr>
        <p:txBody>
          <a:bodyPr vert="horz" lIns="0" tIns="0" rIns="0" bIns="0" rtlCol="0" anchor="t"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2645029854"/>
      </p:ext>
    </p:extLst>
  </p:cSld>
  <p:clrMapOvr>
    <a:masterClrMapping/>
  </p:clrMapOvr>
  <p:transition>
    <p:fade/>
  </p:transition>
  <p:timing>
    <p:tnLst>
      <p:par>
        <p:cTn id="1" dur="indefinite" restart="never" nodeType="tmRoot"/>
      </p:par>
    </p:tnLst>
  </p:timing>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27" name="Picture 26" descr="ridge4.png"/>
          <p:cNvPicPr>
            <a:picLocks noChangeAspect="1"/>
          </p:cNvPicPr>
          <p:nvPr userDrawn="1"/>
        </p:nvPicPr>
        <p:blipFill>
          <a:blip r:embed="rId2"/>
          <a:stretch>
            <a:fillRect/>
          </a:stretch>
        </p:blipFill>
        <p:spPr bwMode="ltGray">
          <a:xfrm>
            <a:off x="802" y="0"/>
            <a:ext cx="3968824" cy="1443209"/>
          </a:xfrm>
          <a:prstGeom prst="rect">
            <a:avLst/>
          </a:prstGeom>
        </p:spPr>
      </p:pic>
      <p:sp>
        <p:nvSpPr>
          <p:cNvPr id="10" name="Slide Number Placeholder 5"/>
          <p:cNvSpPr txBox="1">
            <a:spLocks/>
          </p:cNvSpPr>
          <p:nvPr userDrawn="1"/>
        </p:nvSpPr>
        <p:spPr bwMode="auto">
          <a:xfrm>
            <a:off x="8822457" y="6614013"/>
            <a:ext cx="157094" cy="153888"/>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000" smtClean="0">
                <a:solidFill>
                  <a:srgbClr val="6D6E71"/>
                </a:solidFill>
                <a:cs typeface="Arial" pitchFamily="34" charset="0"/>
              </a:rPr>
              <a:pPr algn="r">
                <a:defRPr/>
              </a:pPr>
              <a:t>‹#›</a:t>
            </a:fld>
            <a:endParaRPr lang="en-US" sz="1000" dirty="0">
              <a:solidFill>
                <a:srgbClr val="6D6E71"/>
              </a:solidFill>
              <a:cs typeface="Arial" pitchFamily="34" charset="0"/>
            </a:endParaRPr>
          </a:p>
        </p:txBody>
      </p:sp>
      <p:pic>
        <p:nvPicPr>
          <p:cNvPr id="7" name="Picture 6"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extLst>
      <p:ext uri="{BB962C8B-B14F-4D97-AF65-F5344CB8AC3E}">
        <p14:creationId xmlns:p14="http://schemas.microsoft.com/office/powerpoint/2010/main" val="4220098128"/>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Slide 2">
    <p:spTree>
      <p:nvGrpSpPr>
        <p:cNvPr id="1" name=""/>
        <p:cNvGrpSpPr/>
        <p:nvPr/>
      </p:nvGrpSpPr>
      <p:grpSpPr>
        <a:xfrm>
          <a:off x="0" y="0"/>
          <a:ext cx="0" cy="0"/>
          <a:chOff x="0" y="0"/>
          <a:chExt cx="0" cy="0"/>
        </a:xfrm>
      </p:grpSpPr>
      <p:pic>
        <p:nvPicPr>
          <p:cNvPr id="2" name="Picture 1" descr="Ridge.pdf"/>
          <p:cNvPicPr>
            <a:picLocks noChangeAspect="1"/>
          </p:cNvPicPr>
          <p:nvPr userDrawn="1"/>
        </p:nvPicPr>
        <p:blipFill>
          <a:blip r:embed="rId2" cstate="print"/>
          <a:stretch>
            <a:fillRect/>
          </a:stretch>
        </p:blipFill>
        <p:spPr bwMode="ltGray">
          <a:xfrm>
            <a:off x="1" y="17"/>
            <a:ext cx="2270124" cy="825501"/>
          </a:xfrm>
          <a:prstGeom prst="rect">
            <a:avLst/>
          </a:prstGeom>
          <a:noFill/>
          <a:ln w="9525">
            <a:noFill/>
            <a:miter lim="800000"/>
            <a:headEnd/>
            <a:tailEnd/>
          </a:ln>
        </p:spPr>
      </p:pic>
    </p:spTree>
    <p:extLst>
      <p:ext uri="{BB962C8B-B14F-4D97-AF65-F5344CB8AC3E}">
        <p14:creationId xmlns:p14="http://schemas.microsoft.com/office/powerpoint/2010/main" val="18102169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5" y="1971675"/>
            <a:ext cx="4078287" cy="4162425"/>
          </a:xfrm>
        </p:spPr>
        <p:txBody>
          <a:bodyPr>
            <a:noAutofit/>
          </a:bodyPr>
          <a:lstStyle>
            <a:lvl1pPr marL="0" indent="0">
              <a:buNone/>
              <a:defRPr>
                <a:latin typeface="Arial" pitchFamily="34" charset="0"/>
                <a:cs typeface="Arial" pitchFamily="34" charset="0"/>
              </a:defRPr>
            </a:lvl1pPr>
          </a:lstStyle>
          <a:p>
            <a:r>
              <a:rPr lang="en-US" dirty="0" smtClean="0"/>
              <a:t>Click icon to add picture</a:t>
            </a:r>
            <a:endParaRPr lang="en-US" dirty="0"/>
          </a:p>
        </p:txBody>
      </p:sp>
      <p:sp>
        <p:nvSpPr>
          <p:cNvPr id="18" name="Text Placeholder 4"/>
          <p:cNvSpPr>
            <a:spLocks noGrp="1"/>
          </p:cNvSpPr>
          <p:nvPr>
            <p:ph type="body" sz="quarter" idx="19" hasCustomPrompt="1"/>
          </p:nvPr>
        </p:nvSpPr>
        <p:spPr bwMode="gray">
          <a:xfrm>
            <a:off x="4838700" y="1971677"/>
            <a:ext cx="3846512"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3"/>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72526728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8_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11" y="469905"/>
            <a:ext cx="8539163" cy="430887"/>
          </a:xfrm>
          <a:prstGeom prst="rect">
            <a:avLst/>
          </a:prstGeom>
        </p:spPr>
        <p:txBody>
          <a:bodyPr/>
          <a:lstStyle>
            <a:lvl1pPr algn="l">
              <a:defRPr>
                <a:solidFill>
                  <a:schemeClr val="tx2"/>
                </a:solidFill>
              </a:defRPr>
            </a:lvl1pPr>
          </a:lstStyle>
          <a:p>
            <a:r>
              <a:rPr lang="en-US" dirty="0" smtClean="0"/>
              <a:t>Click to edit Master title style</a:t>
            </a:r>
            <a:endParaRPr lang="en-US" dirty="0"/>
          </a:p>
        </p:txBody>
      </p:sp>
      <p:sp>
        <p:nvSpPr>
          <p:cNvPr id="3" name="Text Placeholder 4"/>
          <p:cNvSpPr>
            <a:spLocks noGrp="1"/>
          </p:cNvSpPr>
          <p:nvPr>
            <p:ph type="body" sz="quarter" idx="10"/>
          </p:nvPr>
        </p:nvSpPr>
        <p:spPr>
          <a:xfrm>
            <a:off x="302942" y="1465524"/>
            <a:ext cx="8544207" cy="1384995"/>
          </a:xfrm>
        </p:spPr>
        <p:txBody>
          <a:bodyPr/>
          <a:lstStyle>
            <a:lvl1pPr>
              <a:spcBef>
                <a:spcPts val="0"/>
              </a:spcBef>
              <a:spcAft>
                <a:spcPts val="0"/>
              </a:spcAft>
              <a:defRPr sz="1800">
                <a:latin typeface="Arial" pitchFamily="34" charset="0"/>
                <a:cs typeface="Arial" pitchFamily="34" charset="0"/>
              </a:defRPr>
            </a:lvl1pPr>
            <a:lvl2pPr>
              <a:spcBef>
                <a:spcPts val="0"/>
              </a:spcBef>
              <a:spcAft>
                <a:spcPts val="0"/>
              </a:spcAft>
              <a:defRPr sz="1800">
                <a:latin typeface="Arial" pitchFamily="34" charset="0"/>
                <a:cs typeface="Arial" pitchFamily="34" charset="0"/>
              </a:defRPr>
            </a:lvl2pPr>
            <a:lvl3pPr>
              <a:spcBef>
                <a:spcPts val="0"/>
              </a:spcBef>
              <a:spcAft>
                <a:spcPts val="0"/>
              </a:spcAft>
              <a:defRPr sz="1800">
                <a:latin typeface="Arial" pitchFamily="34" charset="0"/>
                <a:cs typeface="Arial" pitchFamily="34" charset="0"/>
              </a:defRPr>
            </a:lvl3pPr>
            <a:lvl4pPr>
              <a:spcBef>
                <a:spcPts val="0"/>
              </a:spcBef>
              <a:spcAft>
                <a:spcPts val="0"/>
              </a:spcAft>
              <a:defRPr sz="1800">
                <a:latin typeface="Arial" pitchFamily="34" charset="0"/>
                <a:cs typeface="Arial" pitchFamily="34" charset="0"/>
              </a:defRPr>
            </a:lvl4pPr>
            <a:lvl5pPr>
              <a:spcBef>
                <a:spcPts val="0"/>
              </a:spcBef>
              <a:spcAft>
                <a:spcPts val="0"/>
              </a:spcAft>
              <a:defRPr sz="1800">
                <a:latin typeface="Arial" pitchFamily="34" charset="0"/>
                <a:cs typeface="Arial" pitchFamily="34" charset="0"/>
              </a:defRPr>
            </a:lvl5pPr>
            <a:lvl6pPr marL="1433574" indent="-285447">
              <a:spcBef>
                <a:spcPts val="0"/>
              </a:spcBef>
              <a:spcAft>
                <a:spcPts val="0"/>
              </a:spcAft>
              <a:buClr>
                <a:schemeClr val="tx2"/>
              </a:buClr>
              <a:buSzPct val="70000"/>
              <a:buFont typeface="Wingdings" pitchFamily="2" charset="2"/>
              <a:buChar char="§"/>
              <a:defRPr sz="1800">
                <a:latin typeface="Arial" pitchFamily="34" charset="0"/>
                <a:cs typeface="Arial" pitchFamily="34" charset="0"/>
              </a:defRPr>
            </a:lvl6pPr>
            <a:lvl7pPr marL="1712675" indent="-272760">
              <a:spcBef>
                <a:spcPts val="0"/>
              </a:spcBef>
              <a:spcAft>
                <a:spcPts val="0"/>
              </a:spcAft>
              <a:buClr>
                <a:srgbClr val="C00000"/>
              </a:buClr>
              <a:buSzPct val="70000"/>
              <a:buFont typeface="Arial" pitchFamily="34" charset="0"/>
              <a:buChar char="–"/>
              <a:defRPr sz="1800" baseline="0">
                <a:latin typeface="Arial" pitchFamily="34" charset="0"/>
                <a:cs typeface="Arial" pitchFamily="34" charset="0"/>
              </a:defRPr>
            </a:lvl7pPr>
            <a:lvl8pPr marL="1598496" indent="-228358">
              <a:spcBef>
                <a:spcPts val="0"/>
              </a:spcBef>
              <a:spcAft>
                <a:spcPts val="0"/>
              </a:spcAft>
              <a:buSzPct val="70000"/>
              <a:defRPr sz="1800" baseline="0">
                <a:latin typeface="Arial" pitchFamily="34" charset="0"/>
                <a:cs typeface="Arial" pitchFamily="34" charset="0"/>
              </a:defRPr>
            </a:lvl8pPr>
            <a:lvl9pPr marL="1822098" indent="-223601">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041340291"/>
      </p:ext>
    </p:extLst>
  </p:cSld>
  <p:clrMapOvr>
    <a:masterClrMapping/>
  </p:clrMapOvr>
  <mc:AlternateContent xmlns:mc="http://schemas.openxmlformats.org/markup-compatibility/2006" xmlns:p14="http://schemas.microsoft.com/office/powerpoint/2010/main">
    <mc:Choice Requires="p14">
      <p:transition p14:dur="10" advClick="0">
        <p:split orient="vert"/>
      </p:transition>
    </mc:Choice>
    <mc:Fallback xmlns="">
      <p:transition advClick="0">
        <p:split orient="vert"/>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27213" y="4053701"/>
            <a:ext cx="5511800"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27213" y="2184400"/>
            <a:ext cx="5511800" cy="1231106"/>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pic>
        <p:nvPicPr>
          <p:cNvPr id="12" name="Picture 11"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8" name="Picture 7"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extLst>
      <p:ext uri="{BB962C8B-B14F-4D97-AF65-F5344CB8AC3E}">
        <p14:creationId xmlns:p14="http://schemas.microsoft.com/office/powerpoint/2010/main" val="1972491890"/>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937321234"/>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5"/>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853860060"/>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481012" y="1971675"/>
            <a:ext cx="8224838"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147188040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3" y="1971675"/>
            <a:ext cx="4078287" cy="4162425"/>
          </a:xfrm>
        </p:spPr>
        <p:txBody>
          <a:bodyPr>
            <a:noAutofit/>
          </a:bodyPr>
          <a:lstStyle>
            <a:lvl1pPr marL="0" indent="0">
              <a:buNone/>
              <a:defRPr>
                <a:latin typeface="Arial" pitchFamily="34" charset="0"/>
                <a:cs typeface="Arial" pitchFamily="34" charset="0"/>
              </a:defRPr>
            </a:lvl1pPr>
          </a:lstStyle>
          <a:p>
            <a:r>
              <a:rPr lang="en-US" dirty="0" smtClean="0"/>
              <a:t>Click icon to add picture</a:t>
            </a:r>
            <a:endParaRPr lang="en-US" dirty="0"/>
          </a:p>
        </p:txBody>
      </p:sp>
      <p:sp>
        <p:nvSpPr>
          <p:cNvPr id="18" name="Text Placeholder 4"/>
          <p:cNvSpPr>
            <a:spLocks noGrp="1"/>
          </p:cNvSpPr>
          <p:nvPr>
            <p:ph type="body" sz="quarter" idx="19" hasCustomPrompt="1"/>
          </p:nvPr>
        </p:nvSpPr>
        <p:spPr bwMode="gray">
          <a:xfrm>
            <a:off x="4838700" y="1971675"/>
            <a:ext cx="3846512"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4498371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3" y="1971675"/>
            <a:ext cx="4078287"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4838700" y="1971675"/>
            <a:ext cx="3846512"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39913" y="4067175"/>
            <a:ext cx="55245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39914" y="2200275"/>
            <a:ext cx="5524500"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6" name="Picture 5"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extLst>
      <p:ext uri="{BB962C8B-B14F-4D97-AF65-F5344CB8AC3E}">
        <p14:creationId xmlns:p14="http://schemas.microsoft.com/office/powerpoint/2010/main" val="2525225940"/>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481013" y="1971675"/>
            <a:ext cx="4102100" cy="4175125"/>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2" name="Subtitle 2"/>
          <p:cNvSpPr>
            <a:spLocks noGrp="1"/>
          </p:cNvSpPr>
          <p:nvPr>
            <p:ph type="subTitle" idx="1" hasCustomPrompt="1"/>
          </p:nvPr>
        </p:nvSpPr>
        <p:spPr bwMode="gray">
          <a:xfrm>
            <a:off x="4926013" y="4295775"/>
            <a:ext cx="3781424"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4926014" y="1971675"/>
            <a:ext cx="3781424" cy="1846659"/>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7" name="Picture 6"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extLst>
      <p:ext uri="{BB962C8B-B14F-4D97-AF65-F5344CB8AC3E}">
        <p14:creationId xmlns:p14="http://schemas.microsoft.com/office/powerpoint/2010/main" val="3986379495"/>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4810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47736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4810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47736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userDrawn="1"/>
        </p:nvCxnSpPr>
        <p:spPr bwMode="gray">
          <a:xfrm>
            <a:off x="4810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47736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179437572"/>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4810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47736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4810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4773613" y="1971675"/>
            <a:ext cx="3933825"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userDrawn="1"/>
        </p:nvCxnSpPr>
        <p:spPr bwMode="gray">
          <a:xfrm>
            <a:off x="4810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47736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481013" y="470329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4773613" y="470329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481013" y="4207995"/>
            <a:ext cx="3933825"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4773613" y="4207995"/>
            <a:ext cx="3933825"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481013" y="458105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4773613" y="458105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967544611"/>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2438399" y="1971675"/>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481013"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0"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6669087" y="1971675"/>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4711701"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5" name="Text Placeholder 4"/>
          <p:cNvSpPr>
            <a:spLocks noGrp="1"/>
          </p:cNvSpPr>
          <p:nvPr>
            <p:ph type="body" sz="quarter" idx="21" hasCustomPrompt="1"/>
          </p:nvPr>
        </p:nvSpPr>
        <p:spPr bwMode="gray">
          <a:xfrm>
            <a:off x="2438399" y="4241801"/>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481013"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8" name="Text Placeholder 4"/>
          <p:cNvSpPr>
            <a:spLocks noGrp="1"/>
          </p:cNvSpPr>
          <p:nvPr>
            <p:ph type="body" sz="quarter" idx="23" hasCustomPrompt="1"/>
          </p:nvPr>
        </p:nvSpPr>
        <p:spPr bwMode="gray">
          <a:xfrm>
            <a:off x="6669087" y="4241801"/>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4711701"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51" name="Text Placeholder 41"/>
          <p:cNvSpPr>
            <a:spLocks noGrp="1"/>
          </p:cNvSpPr>
          <p:nvPr>
            <p:ph type="body" sz="quarter" idx="25"/>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323147513"/>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6"/>
          </a:xfrm>
        </p:spPr>
        <p:txBody>
          <a:bodyPr>
            <a:noAutofit/>
          </a:bodyPr>
          <a:lstStyle>
            <a:lvl1pPr marL="0" indent="0">
              <a:buNone/>
              <a:defRPr>
                <a:latin typeface="Arial" pitchFamily="34" charset="0"/>
                <a:cs typeface="Arial" pitchFamily="34" charset="0"/>
              </a:defRPr>
            </a:lvl1pPr>
          </a:lstStyle>
          <a:p>
            <a:r>
              <a:rPr lang="en-US" dirty="0" smtClean="0"/>
              <a:t>Click icon to add table</a:t>
            </a:r>
            <a:endParaRPr lang="en-US"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2440910074"/>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481013" y="1971675"/>
            <a:ext cx="8226425" cy="4162425"/>
          </a:xfrm>
        </p:spPr>
        <p:txBody>
          <a:bodyPr>
            <a:noAutofit/>
          </a:bodyPr>
          <a:lstStyle>
            <a:lvl1pPr marL="0" indent="0">
              <a:buNone/>
              <a:defRPr>
                <a:latin typeface="Arial" pitchFamily="34" charset="0"/>
                <a:cs typeface="Arial" pitchFamily="34" charset="0"/>
              </a:defRPr>
            </a:lvl1pPr>
          </a:lstStyle>
          <a:p>
            <a:r>
              <a:rPr lang="en-US" dirty="0" smtClean="0"/>
              <a:t>Click icon to add chart</a:t>
            </a:r>
            <a:endParaRPr lang="en-US"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109229284"/>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32429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39913" y="4067175"/>
            <a:ext cx="55245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39914" y="2200275"/>
            <a:ext cx="5524500"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6" name="Picture 5"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481013" y="1971675"/>
            <a:ext cx="4102100"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4926013" y="4295775"/>
            <a:ext cx="3781424"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4926014" y="1971675"/>
            <a:ext cx="3781424" cy="1846659"/>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a:stretch>
            <a:fillRect/>
          </a:stretch>
        </p:blipFill>
        <p:spPr bwMode="ltGray">
          <a:xfrm>
            <a:off x="802" y="0"/>
            <a:ext cx="3968824" cy="1443209"/>
          </a:xfrm>
          <a:prstGeom prst="rect">
            <a:avLst/>
          </a:prstGeom>
        </p:spPr>
      </p:pic>
      <p:pic>
        <p:nvPicPr>
          <p:cNvPr id="7" name="Picture 6" descr="Mahindra Logo.png"/>
          <p:cNvPicPr>
            <a:picLocks noChangeAspect="1"/>
          </p:cNvPicPr>
          <p:nvPr userDrawn="1"/>
        </p:nvPicPr>
        <p:blipFill>
          <a:blip r:embed="rId3"/>
          <a:stretch>
            <a:fillRect/>
          </a:stretch>
        </p:blipFill>
        <p:spPr bwMode="gray">
          <a:xfrm>
            <a:off x="6329900" y="476643"/>
            <a:ext cx="2377538" cy="656554"/>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4810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4773613" y="2466976"/>
            <a:ext cx="3933825"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4810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4773613" y="1971675"/>
            <a:ext cx="3933825"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userDrawn="1"/>
        </p:nvCxnSpPr>
        <p:spPr bwMode="gray">
          <a:xfrm>
            <a:off x="4810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4773613" y="2344738"/>
            <a:ext cx="3906652"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481012" y="727075"/>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41" Type="http://schemas.openxmlformats.org/officeDocument/2006/relationships/slideLayout" Target="../slideLayouts/slideLayout6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image" Target="../media/image7.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image" Target="../media/image6.png"/><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Ridge.pdf"/>
          <p:cNvPicPr>
            <a:picLocks noChangeAspect="1"/>
          </p:cNvPicPr>
          <p:nvPr/>
        </p:nvPicPr>
        <p:blipFill>
          <a:blip r:embed="rId23"/>
          <a:stretch>
            <a:fillRect/>
          </a:stretch>
        </p:blipFill>
        <p:spPr bwMode="ltGray">
          <a:xfrm>
            <a:off x="459" y="0"/>
            <a:ext cx="2270124" cy="825500"/>
          </a:xfrm>
          <a:prstGeom prst="rect">
            <a:avLst/>
          </a:prstGeom>
        </p:spPr>
      </p:pic>
      <p:sp>
        <p:nvSpPr>
          <p:cNvPr id="2" name="Title Placeholder 1"/>
          <p:cNvSpPr>
            <a:spLocks noGrp="1"/>
          </p:cNvSpPr>
          <p:nvPr>
            <p:ph type="title"/>
          </p:nvPr>
        </p:nvSpPr>
        <p:spPr>
          <a:xfrm>
            <a:off x="468313" y="711200"/>
            <a:ext cx="821213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l" rtl="0" eaLnBrk="1" fontAlgn="base" hangingPunct="1">
              <a:spcBef>
                <a:spcPct val="0"/>
              </a:spcBef>
              <a:spcAft>
                <a:spcPct val="0"/>
              </a:spcAft>
            </a:pPr>
            <a:r>
              <a:rPr lang="en-US" smtClean="0"/>
              <a:t>Click to edit Master title style</a:t>
            </a:r>
            <a:endParaRPr lang="en-US" dirty="0"/>
          </a:p>
        </p:txBody>
      </p:sp>
      <p:sp>
        <p:nvSpPr>
          <p:cNvPr id="3" name="Text Placeholder 2"/>
          <p:cNvSpPr>
            <a:spLocks noGrp="1"/>
          </p:cNvSpPr>
          <p:nvPr>
            <p:ph type="body" idx="1"/>
          </p:nvPr>
        </p:nvSpPr>
        <p:spPr>
          <a:xfrm>
            <a:off x="481013" y="1971675"/>
            <a:ext cx="8212137"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marL="571500" marR="0" lvl="2" indent="-279400" algn="l" defTabSz="914400" rtl="0" eaLnBrk="1" fontAlgn="base" latinLnBrk="0" hangingPunct="1">
              <a:lnSpc>
                <a:spcPct val="100000"/>
              </a:lnSpc>
              <a:spcBef>
                <a:spcPts val="0"/>
              </a:spcBef>
              <a:spcAft>
                <a:spcPts val="0"/>
              </a:spcAft>
              <a:buClr>
                <a:schemeClr val="bg2"/>
              </a:buClr>
              <a:buSzPct val="90000"/>
              <a:buFont typeface="Arial" pitchFamily="34" charset="0"/>
              <a:buChar char="–"/>
              <a:tabLst/>
              <a:defRPr/>
            </a:pPr>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9" name="Slide Number Placeholder 5"/>
          <p:cNvSpPr txBox="1">
            <a:spLocks/>
          </p:cNvSpPr>
          <p:nvPr/>
        </p:nvSpPr>
        <p:spPr bwMode="auto">
          <a:xfrm>
            <a:off x="8822457" y="6614013"/>
            <a:ext cx="157094" cy="153888"/>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000" smtClean="0">
                <a:solidFill>
                  <a:schemeClr val="tx2"/>
                </a:solidFill>
                <a:latin typeface="Arial" pitchFamily="34" charset="0"/>
                <a:cs typeface="Arial" pitchFamily="34" charset="0"/>
              </a:rPr>
              <a:pPr algn="r">
                <a:defRPr/>
              </a:pPr>
              <a:t>‹#›</a:t>
            </a:fld>
            <a:endParaRPr lang="en-US" sz="1000" dirty="0">
              <a:solidFill>
                <a:schemeClr val="tx2"/>
              </a:solidFill>
              <a:latin typeface="Arial" pitchFamily="34" charset="0"/>
              <a:cs typeface="Arial" pitchFamily="34" charset="0"/>
            </a:endParaRPr>
          </a:p>
        </p:txBody>
      </p:sp>
      <p:sp>
        <p:nvSpPr>
          <p:cNvPr id="7" name="TextBox 20"/>
          <p:cNvSpPr txBox="1">
            <a:spLocks noChangeArrowheads="1"/>
          </p:cNvSpPr>
          <p:nvPr/>
        </p:nvSpPr>
        <p:spPr bwMode="gray">
          <a:xfrm>
            <a:off x="481013" y="6629401"/>
            <a:ext cx="2431756" cy="123111"/>
          </a:xfrm>
          <a:prstGeom prst="rect">
            <a:avLst/>
          </a:prstGeom>
          <a:noFill/>
          <a:ln w="9525">
            <a:noFill/>
            <a:miter lim="800000"/>
            <a:headEnd/>
            <a:tailEnd/>
          </a:ln>
        </p:spPr>
        <p:txBody>
          <a:bodyPr wrap="none" lIns="0" tIns="0" rIns="0" bIns="0">
            <a:spAutoFit/>
          </a:bodyPr>
          <a:lstStyle/>
          <a:p>
            <a:pPr marL="0" algn="l" defTabSz="914400" rtl="0" eaLnBrk="1" latinLnBrk="0" hangingPunct="1">
              <a:defRPr/>
            </a:pPr>
            <a:r>
              <a:rPr lang="en-US" sz="800" kern="1200" dirty="0" smtClean="0">
                <a:solidFill>
                  <a:schemeClr val="tx2"/>
                </a:solidFill>
                <a:latin typeface="Arial" pitchFamily="34" charset="0"/>
                <a:ea typeface="+mn-ea"/>
                <a:cs typeface="Arial" pitchFamily="34" charset="0"/>
              </a:rPr>
              <a:t>Copyright © 2014 Tech Mahindra. All rights reserved.</a:t>
            </a:r>
            <a:endParaRPr lang="en-US" sz="800" kern="1200" dirty="0">
              <a:solidFill>
                <a:schemeClr val="tx2"/>
              </a:solidFill>
              <a:latin typeface="Arial" pitchFamily="34" charset="0"/>
              <a:ea typeface="+mn-ea"/>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9" r:id="rId3"/>
    <p:sldLayoutId id="2147483668" r:id="rId4"/>
    <p:sldLayoutId id="2147483667" r:id="rId5"/>
    <p:sldLayoutId id="2147483659" r:id="rId6"/>
    <p:sldLayoutId id="2147483651" r:id="rId7"/>
    <p:sldLayoutId id="2147483664" r:id="rId8"/>
    <p:sldLayoutId id="2147483658" r:id="rId9"/>
    <p:sldLayoutId id="2147483665" r:id="rId10"/>
    <p:sldLayoutId id="2147483650" r:id="rId11"/>
    <p:sldLayoutId id="2147483660" r:id="rId12"/>
    <p:sldLayoutId id="2147483661" r:id="rId13"/>
    <p:sldLayoutId id="2147483656" r:id="rId14"/>
    <p:sldLayoutId id="2147483666" r:id="rId15"/>
    <p:sldLayoutId id="2147483690" r:id="rId16"/>
    <p:sldLayoutId id="2147483691" r:id="rId17"/>
    <p:sldLayoutId id="2147483743" r:id="rId18"/>
    <p:sldLayoutId id="2147483745" r:id="rId19"/>
    <p:sldLayoutId id="2147483746" r:id="rId20"/>
    <p:sldLayoutId id="2147483747" r:id="rId21"/>
  </p:sldLayoutIdLst>
  <p:txStyles>
    <p:titleStyle>
      <a:lvl1pPr algn="l" defTabSz="914400" rtl="0" eaLnBrk="1" latinLnBrk="0" hangingPunct="1">
        <a:spcBef>
          <a:spcPct val="0"/>
        </a:spcBef>
        <a:buNone/>
        <a:defRPr lang="en-US" sz="3200" b="1" kern="1200" dirty="0" smtClean="0">
          <a:solidFill>
            <a:schemeClr val="tx2"/>
          </a:solidFill>
          <a:latin typeface="Arial" pitchFamily="34" charset="0"/>
          <a:ea typeface="+mj-ea"/>
          <a:cs typeface="Arial" pitchFamily="34" charset="0"/>
        </a:defRPr>
      </a:lvl1pPr>
    </p:titleStyle>
    <p:bodyStyle>
      <a:lvl1pPr marL="290513" indent="-290513" algn="l" defTabSz="914400" rtl="0" eaLnBrk="1" fontAlgn="base" latinLnBrk="0" hangingPunct="1">
        <a:spcBef>
          <a:spcPts val="0"/>
        </a:spcBef>
        <a:spcAft>
          <a:spcPct val="0"/>
        </a:spcAft>
        <a:buClr>
          <a:schemeClr val="bg2"/>
        </a:buClr>
        <a:buSzPct val="120000"/>
        <a:buFont typeface="Wingdings" pitchFamily="2" charset="2"/>
        <a:buChar char="§"/>
        <a:defRPr lang="en-US" sz="1800" b="0" kern="1200" baseline="0" dirty="0" smtClean="0">
          <a:solidFill>
            <a:schemeClr val="tx1"/>
          </a:solidFill>
          <a:latin typeface="Arial" pitchFamily="34" charset="0"/>
          <a:ea typeface="+mn-ea"/>
          <a:cs typeface="Arial" pitchFamily="34" charset="0"/>
        </a:defRPr>
      </a:lvl1pPr>
      <a:lvl2pPr marL="285750" indent="-285750" algn="l" defTabSz="914400" rtl="0" eaLnBrk="1" fontAlgn="base" latinLnBrk="0" hangingPunct="1">
        <a:spcBef>
          <a:spcPts val="0"/>
        </a:spcBef>
        <a:spcAft>
          <a:spcPct val="0"/>
        </a:spcAft>
        <a:buClr>
          <a:schemeClr val="bg2"/>
        </a:buClr>
        <a:buSzPct val="100000"/>
        <a:buFont typeface="Wingdings" pitchFamily="2" charset="2"/>
        <a:buChar char="§"/>
        <a:defRPr lang="en-US" sz="1800" b="0" kern="1200" baseline="0" dirty="0" smtClean="0">
          <a:solidFill>
            <a:schemeClr val="tx1"/>
          </a:solidFill>
          <a:latin typeface="+mn-lt"/>
          <a:ea typeface="+mn-ea"/>
          <a:cs typeface="+mn-cs"/>
        </a:defRPr>
      </a:lvl2pPr>
      <a:lvl3pPr marL="571500" indent="-279400" algn="l" defTabSz="914400" rtl="0" eaLnBrk="1" fontAlgn="base" latinLnBrk="0" hangingPunct="1">
        <a:spcBef>
          <a:spcPts val="0"/>
        </a:spcBef>
        <a:spcAft>
          <a:spcPct val="0"/>
        </a:spcAft>
        <a:buClr>
          <a:schemeClr val="bg2"/>
        </a:buClr>
        <a:buSzPct val="90000"/>
        <a:buFont typeface="Arial" pitchFamily="34" charset="0"/>
        <a:buChar char="–"/>
        <a:defRPr kumimoji="0" lang="en-US" sz="1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3pPr>
      <a:lvl4pPr marL="850900" indent="-279400" algn="l" defTabSz="914400" rtl="0" eaLnBrk="1" fontAlgn="base" latinLnBrk="0" hangingPunct="1">
        <a:spcBef>
          <a:spcPts val="0"/>
        </a:spcBef>
        <a:spcAft>
          <a:spcPct val="0"/>
        </a:spcAft>
        <a:buClr>
          <a:schemeClr val="bg2"/>
        </a:buClr>
        <a:buSzPct val="80000"/>
        <a:buFont typeface="Wingdings" pitchFamily="2" charset="2"/>
        <a:buChar char="§"/>
        <a:defRPr lang="en-US" sz="1800" b="0" kern="1200" baseline="0" dirty="0" smtClean="0">
          <a:solidFill>
            <a:schemeClr val="tx1"/>
          </a:solidFill>
          <a:latin typeface="Arial" pitchFamily="34" charset="0"/>
          <a:ea typeface="+mn-ea"/>
          <a:cs typeface="+mn-cs"/>
        </a:defRPr>
      </a:lvl4pPr>
      <a:lvl5pPr marL="1136650" indent="-285750" algn="l" defTabSz="933450" rtl="0" eaLnBrk="1" fontAlgn="base" latinLnBrk="0" hangingPunct="1">
        <a:spcBef>
          <a:spcPts val="0"/>
        </a:spcBef>
        <a:spcAft>
          <a:spcPct val="0"/>
        </a:spcAft>
        <a:buClr>
          <a:schemeClr val="bg2"/>
        </a:buClr>
        <a:buSzPct val="70000"/>
        <a:buFont typeface="Arial" pitchFamily="34" charset="0"/>
        <a:buChar char="–"/>
        <a:defRPr lang="en-US" sz="1800" b="0" kern="1200" baseline="0" dirty="0" smtClean="0">
          <a:solidFill>
            <a:schemeClr val="tx1"/>
          </a:solidFill>
          <a:latin typeface="Arial" pitchFamily="34" charset="0"/>
          <a:ea typeface="+mn-ea"/>
          <a:cs typeface="+mn-cs"/>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0" descr="Ridge.pdf"/>
          <p:cNvPicPr>
            <a:picLocks noChangeAspect="1"/>
          </p:cNvPicPr>
          <p:nvPr/>
        </p:nvPicPr>
        <p:blipFill>
          <a:blip r:embed="rId48">
            <a:extLst>
              <a:ext uri="{28A0092B-C50C-407E-A947-70E740481C1C}">
                <a14:useLocalDpi xmlns:a14="http://schemas.microsoft.com/office/drawing/2010/main" val="0"/>
              </a:ext>
            </a:extLst>
          </a:blip>
          <a:srcRect/>
          <a:stretch>
            <a:fillRect/>
          </a:stretch>
        </p:blipFill>
        <p:spPr bwMode="ltGray">
          <a:xfrm>
            <a:off x="0" y="0"/>
            <a:ext cx="1981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9" descr="Mahindra Logo.png"/>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gray">
          <a:xfrm>
            <a:off x="7391400" y="333375"/>
            <a:ext cx="1550988"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304800" y="427038"/>
            <a:ext cx="6705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9" name="Rectangle 3"/>
          <p:cNvSpPr>
            <a:spLocks noGrp="1" noChangeArrowheads="1"/>
          </p:cNvSpPr>
          <p:nvPr>
            <p:ph type="body" idx="1"/>
          </p:nvPr>
        </p:nvSpPr>
        <p:spPr bwMode="auto">
          <a:xfrm>
            <a:off x="304800" y="838200"/>
            <a:ext cx="83820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19"/>
          <p:cNvSpPr>
            <a:spLocks noChangeArrowheads="1"/>
          </p:cNvSpPr>
          <p:nvPr/>
        </p:nvSpPr>
        <p:spPr bwMode="auto">
          <a:xfrm>
            <a:off x="5791200" y="6553200"/>
            <a:ext cx="457200"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defRPr/>
            </a:pPr>
            <a:fld id="{B95D1053-BE1E-4668-AB1C-0EB048FEB58B}" type="slidenum">
              <a:rPr lang="en-US" altLang="en-US" sz="1200" smtClean="0">
                <a:solidFill>
                  <a:srgbClr val="1F497D"/>
                </a:solidFill>
              </a:rPr>
              <a:pPr algn="ctr" eaLnBrk="1" hangingPunct="1">
                <a:defRPr/>
              </a:pPr>
              <a:t>‹#›</a:t>
            </a:fld>
            <a:endParaRPr lang="en-US" altLang="en-US" sz="1200" dirty="0" smtClean="0">
              <a:solidFill>
                <a:srgbClr val="1F497D"/>
              </a:solidFill>
            </a:endParaRPr>
          </a:p>
        </p:txBody>
      </p:sp>
      <p:sp>
        <p:nvSpPr>
          <p:cNvPr id="1031" name="Line 21"/>
          <p:cNvSpPr>
            <a:spLocks noChangeShapeType="1"/>
          </p:cNvSpPr>
          <p:nvPr/>
        </p:nvSpPr>
        <p:spPr bwMode="auto">
          <a:xfrm>
            <a:off x="6248400" y="6400800"/>
            <a:ext cx="0" cy="457200"/>
          </a:xfrm>
          <a:prstGeom prst="line">
            <a:avLst/>
          </a:prstGeom>
          <a:noFill/>
          <a:ln w="19050">
            <a:solidFill>
              <a:srgbClr val="DDDDDD"/>
            </a:solidFill>
            <a:round/>
            <a:headEnd/>
            <a:tailEnd/>
          </a:ln>
          <a:extLst>
            <a:ext uri="{909E8E84-426E-40DD-AFC4-6F175D3DCCD1}">
              <a14:hiddenFill xmlns:a14="http://schemas.microsoft.com/office/drawing/2010/main">
                <a:noFill/>
              </a14:hiddenFill>
            </a:ext>
          </a:extLst>
        </p:spPr>
        <p:txBody>
          <a:bodyPr/>
          <a:lstStyle/>
          <a:p>
            <a:endParaRPr lang="en-US" dirty="0">
              <a:solidFill>
                <a:prstClr val="black"/>
              </a:solidFill>
            </a:endParaRPr>
          </a:p>
        </p:txBody>
      </p:sp>
      <p:sp>
        <p:nvSpPr>
          <p:cNvPr id="11" name="TextBox 20"/>
          <p:cNvSpPr txBox="1">
            <a:spLocks noChangeArrowheads="1"/>
          </p:cNvSpPr>
          <p:nvPr/>
        </p:nvSpPr>
        <p:spPr bwMode="gray">
          <a:xfrm>
            <a:off x="6324600" y="6642100"/>
            <a:ext cx="24320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defRPr/>
            </a:pPr>
            <a:r>
              <a:rPr lang="en-US" sz="800" dirty="0" smtClean="0">
                <a:solidFill>
                  <a:srgbClr val="1F497D"/>
                </a:solidFill>
              </a:rPr>
              <a:t>Copyright © 2015 Tech Mahindra. All rights reserved.</a:t>
            </a:r>
          </a:p>
        </p:txBody>
      </p:sp>
    </p:spTree>
    <p:extLst>
      <p:ext uri="{BB962C8B-B14F-4D97-AF65-F5344CB8AC3E}">
        <p14:creationId xmlns:p14="http://schemas.microsoft.com/office/powerpoint/2010/main" val="36388921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 id="2147483737" r:id="rId41"/>
    <p:sldLayoutId id="2147483738" r:id="rId42"/>
    <p:sldLayoutId id="2147483739" r:id="rId43"/>
    <p:sldLayoutId id="2147483740" r:id="rId44"/>
    <p:sldLayoutId id="2147483741" r:id="rId45"/>
    <p:sldLayoutId id="2147483742" r:id="rId46"/>
  </p:sldLayoutIdLst>
  <p:transition/>
  <p:timing>
    <p:tnLst>
      <p:par>
        <p:cTn id="1" dur="indefinite" restart="never" nodeType="tmRoot"/>
      </p:par>
    </p:tnLst>
  </p:timing>
  <p:txStyles>
    <p:titleStyle>
      <a:lvl1pPr algn="l" rtl="0" eaLnBrk="1" fontAlgn="base" hangingPunct="1">
        <a:spcBef>
          <a:spcPct val="0"/>
        </a:spcBef>
        <a:spcAft>
          <a:spcPct val="0"/>
        </a:spcAft>
        <a:defRPr sz="2400" b="1">
          <a:solidFill>
            <a:schemeClr val="tx1"/>
          </a:solidFill>
          <a:latin typeface="+mn-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bg1"/>
          </a:solidFill>
          <a:latin typeface="Arial Narrow" pitchFamily="34" charset="0"/>
        </a:defRPr>
      </a:lvl6pPr>
      <a:lvl7pPr marL="914400" algn="l" rtl="0" eaLnBrk="1" fontAlgn="base" hangingPunct="1">
        <a:spcBef>
          <a:spcPct val="0"/>
        </a:spcBef>
        <a:spcAft>
          <a:spcPct val="0"/>
        </a:spcAft>
        <a:defRPr sz="2400" b="1">
          <a:solidFill>
            <a:schemeClr val="bg1"/>
          </a:solidFill>
          <a:latin typeface="Arial Narrow" pitchFamily="34" charset="0"/>
        </a:defRPr>
      </a:lvl7pPr>
      <a:lvl8pPr marL="1371600" algn="l" rtl="0" eaLnBrk="1" fontAlgn="base" hangingPunct="1">
        <a:spcBef>
          <a:spcPct val="0"/>
        </a:spcBef>
        <a:spcAft>
          <a:spcPct val="0"/>
        </a:spcAft>
        <a:defRPr sz="2400" b="1">
          <a:solidFill>
            <a:schemeClr val="bg1"/>
          </a:solidFill>
          <a:latin typeface="Arial Narrow" pitchFamily="34" charset="0"/>
        </a:defRPr>
      </a:lvl8pPr>
      <a:lvl9pPr marL="1828800" algn="l" rtl="0" eaLnBrk="1" fontAlgn="base" hangingPunct="1">
        <a:spcBef>
          <a:spcPct val="0"/>
        </a:spcBef>
        <a:spcAft>
          <a:spcPct val="0"/>
        </a:spcAft>
        <a:defRPr sz="2400" b="1">
          <a:solidFill>
            <a:schemeClr val="bg1"/>
          </a:solidFill>
          <a:latin typeface="Arial Narrow" pitchFamily="34" charset="0"/>
        </a:defRPr>
      </a:lvl9pPr>
    </p:titleStyle>
    <p:bodyStyle>
      <a:lvl1pPr marL="342900" indent="-342900" algn="l" rtl="0" eaLnBrk="1" fontAlgn="base" hangingPunct="1">
        <a:spcBef>
          <a:spcPct val="20000"/>
        </a:spcBef>
        <a:spcAft>
          <a:spcPct val="0"/>
        </a:spcAft>
        <a:buClr>
          <a:srgbClr val="BF1313"/>
        </a:buClr>
        <a:buFont typeface="Wingdings" pitchFamily="2" charset="2"/>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E63700"/>
        </a:buClr>
        <a:buFont typeface="Wingdings" pitchFamily="2" charset="2"/>
        <a:buChar char="§"/>
        <a:defRPr sz="2200">
          <a:solidFill>
            <a:schemeClr val="tx1"/>
          </a:solidFill>
          <a:latin typeface="+mn-lt"/>
        </a:defRPr>
      </a:lvl2pPr>
      <a:lvl3pPr marL="1143000" indent="-228600" algn="l" rtl="0" eaLnBrk="1" fontAlgn="base" hangingPunct="1">
        <a:spcBef>
          <a:spcPct val="20000"/>
        </a:spcBef>
        <a:spcAft>
          <a:spcPct val="0"/>
        </a:spcAft>
        <a:buClr>
          <a:schemeClr val="bg2"/>
        </a:buClr>
        <a:buChar char="•"/>
        <a:defRPr sz="2200">
          <a:solidFill>
            <a:schemeClr val="tx1"/>
          </a:solidFill>
          <a:latin typeface="+mn-lt"/>
        </a:defRPr>
      </a:lvl3pPr>
      <a:lvl4pPr marL="1600200" indent="-228600" algn="l" rtl="0" eaLnBrk="1" fontAlgn="base" hangingPunct="1">
        <a:spcBef>
          <a:spcPct val="20000"/>
        </a:spcBef>
        <a:spcAft>
          <a:spcPct val="0"/>
        </a:spcAft>
        <a:buClr>
          <a:schemeClr val="bg2"/>
        </a:buClr>
        <a:buFont typeface="Arial" charset="0"/>
        <a:buChar char="–"/>
        <a:defRPr sz="2200">
          <a:solidFill>
            <a:schemeClr val="tx1"/>
          </a:solidFill>
          <a:latin typeface="+mn-lt"/>
        </a:defRPr>
      </a:lvl4pPr>
      <a:lvl5pPr marL="2057400" indent="-228600" algn="l" rtl="0" eaLnBrk="1" fontAlgn="base" hangingPunct="1">
        <a:spcBef>
          <a:spcPct val="20000"/>
        </a:spcBef>
        <a:spcAft>
          <a:spcPct val="0"/>
        </a:spcAft>
        <a:buClr>
          <a:schemeClr val="bg2"/>
        </a:buClr>
        <a:buFont typeface="Arial" charset="0"/>
        <a:buChar char="»"/>
        <a:defRPr sz="2200">
          <a:solidFill>
            <a:schemeClr val="tx1"/>
          </a:solidFill>
          <a:latin typeface="+mn-lt"/>
        </a:defRPr>
      </a:lvl5pPr>
      <a:lvl6pPr marL="25146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6pPr>
      <a:lvl7pPr marL="29718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7pPr>
      <a:lvl8pPr marL="34290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8pPr>
      <a:lvl9pPr marL="38862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40.xml"/><Relationship Id="rId5" Type="http://schemas.openxmlformats.org/officeDocument/2006/relationships/hyperlink" Target="https://mink.techmahindra.com/kms/marketofferings/Cloud/Forms/AllItems.aspx?RootFolder=/kms/marketofferings/Cloud/Competency%20Building/Cloud%20for%20Sales%20Specialist&amp;FolderCTID=0x01200006BA854C15CBEC4FB2B9D29F92415C95&amp;View=%7b494EC4D8-27E4-4762-9198-F9D31DACB49F%7d" TargetMode="Externa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www.google.co.in/url?sa=i&amp;rct=j&amp;q=&amp;esrc=s&amp;frm=1&amp;source=images&amp;cd=&amp;cad=rja&amp;uact=8&amp;ved=0ahUKEwjXnpWIppfLAhUQBo4KHXExCK4QjRwIBw&amp;url=http://www.host1plus.com/blog/articles/whats-behind-those-2-magic-words-web-server/&amp;psig=AFQjCNGU_p30FEw_sf26LYPYO2S5-9YhxQ&amp;ust=1456640263422496" TargetMode="External"/><Relationship Id="rId1" Type="http://schemas.openxmlformats.org/officeDocument/2006/relationships/slideLayout" Target="../slideLayouts/slideLayout28.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hyperlink" Target="https://mink.techmahindra.com/kms/marketofferings/Cloud/Forms/AllItems.aspx?RootFolder=/kms/marketofferings/Cloud/Competency%20Building/Cloud%20for%20Sales%20Specialist&amp;FolderCTID=0x01200006BA854C15CBEC4FB2B9D29F92415C95&amp;View=%7b494EC4D8-27E4-4762-9198-F9D31DACB49F%7d" TargetMode="Externa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9.xml"/><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xml"/><Relationship Id="rId5" Type="http://schemas.openxmlformats.org/officeDocument/2006/relationships/image" Target="../media/image51.png"/><Relationship Id="rId4" Type="http://schemas.openxmlformats.org/officeDocument/2006/relationships/hyperlink" Target="http://www.rightscale.com/blog/cloud-industry-insights/cloud-computing-trends-2016-state-cloud-surve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hyperlink" Target="http://mink.techmahindra.com/kms/marketofferings/Cloud/Forms/AllItems.aspx?RootFolder=/kms/marketofferings/Cloud/Competency%20Building/Cloud%20for%20Sales%20Specialist&amp;FolderCTID=0x01200006BA854C15CBEC4FB2B9D29F92415C95&amp;View=%7b494EC4D8-27E4-4762-9198-F9D31DACB49F%7d"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3.png"/><Relationship Id="rId5" Type="http://schemas.openxmlformats.org/officeDocument/2006/relationships/hyperlink" Target="https://mink.techmahindra.com/kms/marketofferings/Cloud/Forms/AllItems.aspx?RootFolder=/kms/marketofferings/Cloud/Competency%20Building/Cloud%20for%20Sales%20Specialist&amp;FolderCTID=0x01200006BA854C15CBEC4FB2B9D29F92415C95&amp;View=%7b494EC4D8-27E4-4762-9198-F9D31DACB49F%7d" TargetMode="External"/><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pn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jpeg"/><Relationship Id="rId14"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18" Type="http://schemas.openxmlformats.org/officeDocument/2006/relationships/image" Target="../media/image71.pn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jpeg"/><Relationship Id="rId17" Type="http://schemas.openxmlformats.org/officeDocument/2006/relationships/image" Target="../media/image70.jpeg"/><Relationship Id="rId2" Type="http://schemas.openxmlformats.org/officeDocument/2006/relationships/notesSlide" Target="../notesSlides/notesSlide13.xml"/><Relationship Id="rId16" Type="http://schemas.openxmlformats.org/officeDocument/2006/relationships/image" Target="../media/image69.jpeg"/><Relationship Id="rId20" Type="http://schemas.openxmlformats.org/officeDocument/2006/relationships/image" Target="../media/image73.gif"/><Relationship Id="rId1" Type="http://schemas.openxmlformats.org/officeDocument/2006/relationships/slideLayout" Target="../slideLayouts/slideLayout20.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jpeg"/><Relationship Id="rId19" Type="http://schemas.openxmlformats.org/officeDocument/2006/relationships/image" Target="../media/image72.jpeg"/><Relationship Id="rId4" Type="http://schemas.openxmlformats.org/officeDocument/2006/relationships/image" Target="../media/image57.jpeg"/><Relationship Id="rId9" Type="http://schemas.openxmlformats.org/officeDocument/2006/relationships/image" Target="../media/image62.jpeg"/><Relationship Id="rId14" Type="http://schemas.openxmlformats.org/officeDocument/2006/relationships/image" Target="../media/image67.png"/></Relationships>
</file>

<file path=ppt/slides/_rels/slide32.xml.rels><?xml version="1.0" encoding="UTF-8" standalone="yes"?>
<Relationships xmlns="http://schemas.openxmlformats.org/package/2006/relationships"><Relationship Id="rId8" Type="http://schemas.openxmlformats.org/officeDocument/2006/relationships/image" Target="../media/image73.gif"/><Relationship Id="rId3" Type="http://schemas.openxmlformats.org/officeDocument/2006/relationships/image" Target="../media/image68.png"/><Relationship Id="rId7" Type="http://schemas.openxmlformats.org/officeDocument/2006/relationships/image" Target="../media/image72.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6.xml"/><Relationship Id="rId7" Type="http://schemas.openxmlformats.org/officeDocument/2006/relationships/diagramQuickStyle" Target="../diagrams/quickStyle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16.xml"/><Relationship Id="rId9" Type="http://schemas.microsoft.com/office/2007/relationships/diagramDrawing" Target="../diagrams/drawing5.xml"/></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png"/><Relationship Id="rId1" Type="http://schemas.openxmlformats.org/officeDocument/2006/relationships/slideLayout" Target="../slideLayouts/slideLayout21.xml"/><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png"/><Relationship Id="rId1" Type="http://schemas.openxmlformats.org/officeDocument/2006/relationships/slideLayout" Target="../slideLayouts/slideLayout5.xml"/><Relationship Id="rId4" Type="http://schemas.openxmlformats.org/officeDocument/2006/relationships/image" Target="../media/image94.jpeg"/></Relationships>
</file>

<file path=ppt/slides/_rels/slide51.xml.rels><?xml version="1.0" encoding="UTF-8" standalone="yes"?>
<Relationships xmlns="http://schemas.openxmlformats.org/package/2006/relationships"><Relationship Id="rId3" Type="http://schemas.openxmlformats.org/officeDocument/2006/relationships/hyperlink" Target="http://en.wikipedia.org/wiki/File:Hyperviseur.png" TargetMode="External"/><Relationship Id="rId7"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Layout" Target="../diagrams/layout6.xml"/><Relationship Id="rId7" Type="http://schemas.openxmlformats.org/officeDocument/2006/relationships/image" Target="../media/image98.jpeg"/><Relationship Id="rId12" Type="http://schemas.microsoft.com/office/2007/relationships/diagramDrawing" Target="../diagrams/drawing7.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11" Type="http://schemas.openxmlformats.org/officeDocument/2006/relationships/diagramColors" Target="../diagrams/colors7.xml"/><Relationship Id="rId5" Type="http://schemas.openxmlformats.org/officeDocument/2006/relationships/diagramColors" Target="../diagrams/colors6.xml"/><Relationship Id="rId10" Type="http://schemas.openxmlformats.org/officeDocument/2006/relationships/diagramQuickStyle" Target="../diagrams/quickStyle7.xml"/><Relationship Id="rId4" Type="http://schemas.openxmlformats.org/officeDocument/2006/relationships/diagramQuickStyle" Target="../diagrams/quickStyle6.xml"/><Relationship Id="rId9" Type="http://schemas.openxmlformats.org/officeDocument/2006/relationships/diagramLayout" Target="../diagrams/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25.gif"/><Relationship Id="rId4" Type="http://schemas.openxmlformats.org/officeDocument/2006/relationships/diagramLayout" Target="../diagrams/layout2.xml"/><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87522" y="1867696"/>
            <a:ext cx="6979237" cy="135421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4400" b="1" dirty="0" smtClean="0">
                <a:solidFill>
                  <a:srgbClr val="FF0000"/>
                </a:solidFill>
                <a:latin typeface="+mj-lt"/>
              </a:rPr>
              <a:t>Introduction to </a:t>
            </a:r>
          </a:p>
          <a:p>
            <a:pPr algn="ctr" fontAlgn="base">
              <a:buClr>
                <a:schemeClr val="tx2"/>
              </a:buClr>
            </a:pPr>
            <a:r>
              <a:rPr lang="en-US" sz="4400" b="1" dirty="0" smtClean="0">
                <a:solidFill>
                  <a:srgbClr val="FF0000"/>
                </a:solidFill>
                <a:latin typeface="+mj-lt"/>
              </a:rPr>
              <a:t>Cloud Computing</a:t>
            </a:r>
            <a:endParaRPr lang="en-US" b="1" dirty="0" smtClean="0">
              <a:solidFill>
                <a:srgbClr val="FF0000"/>
              </a:solidFill>
              <a:latin typeface="+mj-lt"/>
            </a:endParaRPr>
          </a:p>
        </p:txBody>
      </p:sp>
      <p:sp>
        <p:nvSpPr>
          <p:cNvPr id="3" name="Rectangle 2"/>
          <p:cNvSpPr/>
          <p:nvPr/>
        </p:nvSpPr>
        <p:spPr>
          <a:xfrm>
            <a:off x="5189135" y="5687283"/>
            <a:ext cx="3954865" cy="369332"/>
          </a:xfrm>
          <a:prstGeom prst="rect">
            <a:avLst/>
          </a:prstGeom>
        </p:spPr>
        <p:txBody>
          <a:bodyPr wrap="none">
            <a:spAutoFit/>
          </a:bodyPr>
          <a:lstStyle/>
          <a:p>
            <a:r>
              <a:rPr lang="en-IN" b="1" dirty="0">
                <a:solidFill>
                  <a:schemeClr val="bg1">
                    <a:lumMod val="50000"/>
                  </a:schemeClr>
                </a:solidFill>
              </a:rPr>
              <a:t>By </a:t>
            </a:r>
            <a:r>
              <a:rPr lang="en-IN" b="1" dirty="0" smtClean="0">
                <a:solidFill>
                  <a:schemeClr val="bg1">
                    <a:lumMod val="50000"/>
                  </a:schemeClr>
                </a:solidFill>
              </a:rPr>
              <a:t>Tech Mahindra Cloud Academy</a:t>
            </a:r>
            <a:endParaRPr lang="en-IN" b="1" dirty="0">
              <a:solidFill>
                <a:schemeClr val="bg1">
                  <a:lumMod val="5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638" y="647700"/>
            <a:ext cx="8086725" cy="556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9911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025" y="742950"/>
            <a:ext cx="7981950" cy="537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2749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450" y="647700"/>
            <a:ext cx="8039100" cy="556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63525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700" y="457201"/>
            <a:ext cx="8172450" cy="591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340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650" y="828351"/>
            <a:ext cx="8705850" cy="5348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54379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6296" y="230533"/>
            <a:ext cx="8226425" cy="584775"/>
          </a:xfr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fontAlgn="base">
              <a:spcAft>
                <a:spcPct val="0"/>
              </a:spcAft>
            </a:pPr>
            <a:r>
              <a:rPr lang="en-US" dirty="0" smtClean="0">
                <a:solidFill>
                  <a:srgbClr val="FF0000"/>
                </a:solidFill>
                <a:latin typeface="Calibri" pitchFamily="34" charset="0"/>
                <a:ea typeface="Calibri" pitchFamily="34" charset="0"/>
                <a:cs typeface="TT671o00"/>
              </a:rPr>
              <a:t>Virtual Machine</a:t>
            </a:r>
            <a:endParaRPr lang="en-US" dirty="0">
              <a:solidFill>
                <a:srgbClr val="FF0000"/>
              </a:solidFill>
              <a:latin typeface="Calibri" pitchFamily="34" charset="0"/>
              <a:ea typeface="Calibri" pitchFamily="34" charset="0"/>
              <a:cs typeface="TT671o00"/>
            </a:endParaRPr>
          </a:p>
        </p:txBody>
      </p:sp>
      <p:sp>
        <p:nvSpPr>
          <p:cNvPr id="5" name="Text Placeholder 4"/>
          <p:cNvSpPr>
            <a:spLocks noGrp="1"/>
          </p:cNvSpPr>
          <p:nvPr>
            <p:ph type="body" sz="quarter" idx="10"/>
          </p:nvPr>
        </p:nvSpPr>
        <p:spPr>
          <a:xfrm>
            <a:off x="4107976" y="1207400"/>
            <a:ext cx="4533104" cy="5232202"/>
          </a:xfrm>
        </p:spPr>
        <p:txBody>
          <a:bodyPr/>
          <a:lstStyle/>
          <a:p>
            <a:pPr algn="just"/>
            <a:r>
              <a:rPr lang="en-IN" sz="2000" dirty="0"/>
              <a:t>A virtual machine is the representation of a physical machine by software. </a:t>
            </a:r>
            <a:endParaRPr lang="en-IN" sz="2000" dirty="0" smtClean="0"/>
          </a:p>
          <a:p>
            <a:pPr algn="just"/>
            <a:endParaRPr lang="en-IN" sz="2000" dirty="0" smtClean="0"/>
          </a:p>
          <a:p>
            <a:pPr algn="just"/>
            <a:r>
              <a:rPr lang="en-IN" sz="2000" dirty="0" smtClean="0"/>
              <a:t>A virtual Machine has </a:t>
            </a:r>
            <a:r>
              <a:rPr lang="en-IN" sz="2000" dirty="0"/>
              <a:t>its own set of virtual hardware (e.g., RAM, CPU, NIC, hard disks, etc.) upon which an operating system and applications are loaded</a:t>
            </a:r>
            <a:r>
              <a:rPr lang="en-IN" sz="2000" dirty="0" smtClean="0"/>
              <a:t>.</a:t>
            </a:r>
          </a:p>
          <a:p>
            <a:pPr algn="just"/>
            <a:endParaRPr lang="en-IN" sz="2000" dirty="0"/>
          </a:p>
          <a:p>
            <a:pPr algn="just"/>
            <a:r>
              <a:rPr lang="en-IN" sz="2000" dirty="0" smtClean="0"/>
              <a:t>Virtualization </a:t>
            </a:r>
            <a:r>
              <a:rPr lang="en-IN" sz="2000" dirty="0"/>
              <a:t>allows multiple virtual machines, </a:t>
            </a:r>
            <a:r>
              <a:rPr lang="en-IN" sz="2000" dirty="0" smtClean="0"/>
              <a:t>with heterogeneous </a:t>
            </a:r>
            <a:r>
              <a:rPr lang="en-IN" sz="2000" dirty="0"/>
              <a:t>operating systems (e.g., </a:t>
            </a:r>
            <a:r>
              <a:rPr lang="en-IN" sz="2000" dirty="0" smtClean="0"/>
              <a:t>Windows 2003 </a:t>
            </a:r>
            <a:r>
              <a:rPr lang="en-IN" sz="2000" dirty="0"/>
              <a:t>Server and Linux) and applications to run in </a:t>
            </a:r>
            <a:r>
              <a:rPr lang="en-IN" sz="2000" dirty="0" smtClean="0"/>
              <a:t>isolation, side-by-side </a:t>
            </a:r>
            <a:r>
              <a:rPr lang="en-IN" sz="2000" dirty="0"/>
              <a:t>on the same physical </a:t>
            </a:r>
            <a:r>
              <a:rPr lang="en-IN" sz="2000" dirty="0" smtClean="0"/>
              <a:t>machine.</a:t>
            </a:r>
            <a:endParaRPr lang="en-IN" sz="2000" dirty="0">
              <a:latin typeface="Calibri" pitchFamily="34" charset="0"/>
              <a:cs typeface="Calibri" pitchFamily="34" charset="0"/>
            </a:endParaRP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416" y="1356360"/>
            <a:ext cx="3416139" cy="4236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887104" y="5841955"/>
            <a:ext cx="2866939" cy="276999"/>
          </a:xfrm>
          <a:prstGeom prst="rect">
            <a:avLst/>
          </a:prstGeom>
        </p:spPr>
        <p:txBody>
          <a:bodyPr wrap="none">
            <a:spAutoFit/>
          </a:bodyPr>
          <a:lstStyle/>
          <a:p>
            <a:r>
              <a:rPr lang="en-US" sz="1200" i="1"/>
              <a:t>Virtualization diagram (Source: Google)</a:t>
            </a:r>
            <a:endParaRPr lang="en-US" sz="1200" i="1">
              <a:effectLst/>
            </a:endParaRPr>
          </a:p>
        </p:txBody>
      </p:sp>
    </p:spTree>
    <p:extLst>
      <p:ext uri="{BB962C8B-B14F-4D97-AF65-F5344CB8AC3E}">
        <p14:creationId xmlns:p14="http://schemas.microsoft.com/office/powerpoint/2010/main" val="40493540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vmware.com/files/images/diagrams/vmw-virtualization-defined.jpg"/>
          <p:cNvPicPr>
            <a:picLocks noChangeAspect="1" noChangeArrowheads="1"/>
          </p:cNvPicPr>
          <p:nvPr/>
        </p:nvPicPr>
        <p:blipFill rotWithShape="1">
          <a:blip r:embed="rId3">
            <a:extLst>
              <a:ext uri="{28A0092B-C50C-407E-A947-70E740481C1C}">
                <a14:useLocalDpi xmlns:a14="http://schemas.microsoft.com/office/drawing/2010/main" val="0"/>
              </a:ext>
            </a:extLst>
          </a:blip>
          <a:srcRect l="10130" t="26861" r="9083" b="4805"/>
          <a:stretch/>
        </p:blipFill>
        <p:spPr bwMode="auto">
          <a:xfrm>
            <a:off x="960120" y="3068930"/>
            <a:ext cx="5548608" cy="297247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917575" y="376186"/>
            <a:ext cx="8226425" cy="492443"/>
          </a:xfrm>
        </p:spPr>
        <p:txBody>
          <a:bodyPr/>
          <a:lstStyle/>
          <a:p>
            <a:r>
              <a:rPr lang="en-US" dirty="0">
                <a:solidFill>
                  <a:srgbClr val="6D6E71"/>
                </a:solidFill>
                <a:cs typeface="+mj-cs"/>
              </a:rPr>
              <a:t>Virtualization</a:t>
            </a:r>
          </a:p>
        </p:txBody>
      </p:sp>
      <p:sp>
        <p:nvSpPr>
          <p:cNvPr id="5" name="Text Placeholder 4"/>
          <p:cNvSpPr>
            <a:spLocks noGrp="1"/>
          </p:cNvSpPr>
          <p:nvPr>
            <p:ph type="body" sz="quarter" idx="10"/>
          </p:nvPr>
        </p:nvSpPr>
        <p:spPr>
          <a:xfrm>
            <a:off x="481012" y="1059356"/>
            <a:ext cx="8224838" cy="1631216"/>
          </a:xfrm>
        </p:spPr>
        <p:txBody>
          <a:bodyPr/>
          <a:lstStyle/>
          <a:p>
            <a:r>
              <a:rPr lang="en-IN" sz="2000" dirty="0" smtClean="0"/>
              <a:t>Virtualization is the creation of a virtual (rather than actual) version of something, such as an operating system, a server, a storage device or network resources.</a:t>
            </a:r>
          </a:p>
          <a:p>
            <a:endParaRPr lang="en-IN" sz="2000" dirty="0" smtClean="0"/>
          </a:p>
          <a:p>
            <a:r>
              <a:rPr lang="en-IN" sz="2000" dirty="0" smtClean="0"/>
              <a:t>Virtualization layer is a hypervisor running directly on the hardware.</a:t>
            </a:r>
            <a:endParaRPr lang="en-IN" sz="2000" dirty="0"/>
          </a:p>
        </p:txBody>
      </p:sp>
      <p:pic>
        <p:nvPicPr>
          <p:cNvPr id="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40466"/>
          <a:stretch/>
        </p:blipFill>
        <p:spPr bwMode="auto">
          <a:xfrm>
            <a:off x="7187931" y="3226871"/>
            <a:ext cx="1641716" cy="1116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6934200" y="4427914"/>
            <a:ext cx="2209800" cy="584775"/>
          </a:xfrm>
          <a:prstGeom prst="rect">
            <a:avLst/>
          </a:prstGeom>
        </p:spPr>
        <p:txBody>
          <a:bodyPr wrap="square">
            <a:spAutoFit/>
          </a:bodyPr>
          <a:lstStyle/>
          <a:p>
            <a:pPr algn="ctr"/>
            <a:r>
              <a:rPr lang="en-US" sz="1600" dirty="0" smtClean="0">
                <a:hlinkClick r:id="rId5"/>
              </a:rPr>
              <a:t>Cloud </a:t>
            </a:r>
            <a:r>
              <a:rPr lang="en-US" sz="1600" dirty="0">
                <a:hlinkClick r:id="rId5"/>
              </a:rPr>
              <a:t>V</a:t>
            </a:r>
            <a:r>
              <a:rPr lang="en-US" sz="1600" dirty="0" smtClean="0">
                <a:hlinkClick r:id="rId5"/>
              </a:rPr>
              <a:t>irtualization Video</a:t>
            </a:r>
            <a:r>
              <a:rPr lang="en-US" sz="1600" dirty="0" smtClean="0"/>
              <a:t> Link</a:t>
            </a:r>
          </a:p>
        </p:txBody>
      </p:sp>
    </p:spTree>
    <p:extLst>
      <p:ext uri="{BB962C8B-B14F-4D97-AF65-F5344CB8AC3E}">
        <p14:creationId xmlns:p14="http://schemas.microsoft.com/office/powerpoint/2010/main" val="3751933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52400" y="960120"/>
            <a:ext cx="4800600" cy="527304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AutoShape 2" descr="Image result for server"/>
          <p:cNvSpPr>
            <a:spLocks noChangeAspect="1" noChangeArrowheads="1"/>
          </p:cNvSpPr>
          <p:nvPr/>
        </p:nvSpPr>
        <p:spPr bwMode="auto">
          <a:xfrm>
            <a:off x="1174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server"/>
          <p:cNvSpPr>
            <a:spLocks noChangeAspect="1" noChangeArrowheads="1"/>
          </p:cNvSpPr>
          <p:nvPr/>
        </p:nvSpPr>
        <p:spPr bwMode="auto">
          <a:xfrm>
            <a:off x="2698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server"/>
          <p:cNvSpPr>
            <a:spLocks noChangeAspect="1" noChangeArrowheads="1"/>
          </p:cNvSpPr>
          <p:nvPr/>
        </p:nvSpPr>
        <p:spPr bwMode="auto">
          <a:xfrm>
            <a:off x="4222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8" descr="data:image/jpeg;base64,/9j/4AAQSkZJRgABAQAAAQABAAD/2wCEAAkGBxAQEhIPDxAOEBAQEBAVEBAQDw8QEA8PFRIWFhUVFRUYHSggGRolGxYVITEhJSkrOi4uFx8zODMsNygtLisBCgoKDg0NFQ0PGCsZFRktKy0tNzAtKzQvNysrOC04Mis3KzA3NzUrMistLTc3MjctMSstNzgrKy4rNysrLS0rK//AABEIAP8AxQMBIgACEQEDEQH/xAAcAAABBAMBAAAAAAAAAAAAAAAAAQIDBAUGBwj/xABWEAABAwICAwsECwoLCQAAAAABAAIDBBEhMQUSUQYHIjJBYXGBkaGxE1JywRQzQmKCkpOy0dLwFSMlQ1NVc3SjwggWJDREZKKztOHiVGNlg4SUpMPj/8QAFwEBAQEBAAAAAAAAAAAAAAAAAAECA//EABwRAQEBAQACAwAAAAAAAAAAAAABEQISUSExQf/aAAwDAQACEQMRAD8A7ihCEAhCEAhCEAhCEAhCEAhCEAhCEAhCEAhCEAhCEAhCEAhCEAhCEAhCEAhCEAhImveALkgDaTYIHpFiqvdJQxYSVlK0jkM0Zd2A3WErd83REWdUHEcjI5T3kAd6DcELmVZv26MZxGVMnPaJo+cT3LB1e/3H+Kor7C+Z3gGDxQdpQuAVG/jXu9qpYGjk+9SuPbr27ljKjfY03JxXeTGxsUI+cwnvQekkLy1Ubt9Ny51UzfRldH8whY6et0nNhJUyOv58r3/Oug9YTVUbOPJGz0ntb4lUZN0dC3B1bRNPPUwD95eVm6NqHZzgdA/yCj0po18TGuknlfrX1Rc2b2n7XQeu6aqjlbrxPZI05Oje17e0KZeN9AaXrKOTy1FUSQy4X1SA2Qcgc08F45nBds3D79UE5bBpNraWbITtv7HecuGDjGe0Z4jJB1xKo45A4BzSHNcAWuaQWuByIIzCegVCRKgEIQgEIQgEIQgEiUpqDnu/NpGohp6cUtS+nllqC0BusBKNQk6z2m7QLX5b3XGKqlrJTeate4+iXHtJBXW9/L2ugOysd3wPXMnOQYg6DYePLUP6XgA9yT7j04/F36XP2dKybnfbrVd5+3Ugq+xIhlHH8Vp5OdIQBkAMshZSvP26lC4+pAE+KQetIT4oaglap48wq7fWrEeaCxEqe6v2uHod9vtsVyPJVN13tcPQft9tqDWqTM9SgreO7pHgFPR5nqUFbx3dPqQbPuJ3wK/RZDYH+Vp73dSykujNzclnKx2eI5cwV6C3E741BpQBkb/I1VuFSzEB9+XybspBgcsdoC8oxZhWwcQcQ5pBa5ps5pGRBQe00q8+biN+GqpQ2HSAdW04sPLt/nUTbZuv7YOcm/vjku46B07S10QnpJmTRnMtPCYbX1XtOLXcxAQZNCQJUAhCEAhCEAU0pxTSg5nv6+0UJ2V3/olXJpauNvGewdLmhdd39w00MAIY4mujDQ8XufIzZGxtt6B1LikdO5uTadnog37mBBK7SMWQkaTsbwj3JhqL8VkzuiGXZ0JSJPyoHwHH98KNzDyvcehrR43QBc8/ipB6RjZ3OcCmasnmMaNrpoj3NJKaWe/k7WDwamOYOUuOXu3eooCHyjzZgiPCYCdaSwL3hjc2bXBbqd7TSDSWyT0EeqeR07/FrVo4p2eby7XfSnvha86zwHE3uXcInrKDd/4gub7ZpOij/wCWP3pAmjcvRM9t09TA8oYKVvi9y06Okjw+9sz80K1FCwe4b8UIjavuPoZvH028+g+m9TCsbp2i0MWDyWkKupLfOLi1nZEAqUbBhgOwKruw4kPQUMUW6DPk3VML2uibcnWezWIacbDA36lgawcN3T6gp6TMjkJGHJcZJlQ8B7gRy5g45BFV4sx9uRWU2OIOPAIJ2ZO7OXqTjcGzgQRngbjpCBWkjEYHaMCsjobTM9JKJ6WaSnmHu47arxskjPBcOa3UVjkIPR29nvkO0k72LUwFlQGFwlhBdTytbmTyxnmPdcBdHXnLeHJ+6QAJ/m8xOOY4OfavRqAQhCAQhCAKaU4ppQc03+v5lSH/AIjF/h51x8uXY9/kfyCA7NIQn9jMPWuLOeNo7UDnOUTnJjp2jNzfjBQuqo/PZ8YIJXFRk+pROq4/Pb2oEoOWsfRa4+AQSgp7FAZLZtk+Sk+hXm6Pqf8AZK3/ALWf6qBI+RWI+VEejavC1FXn/pJ/WFaj0RXclBXfI6viQgGcip7seJF8JZiPQtf+b6vrEQ8Xqnup0LXOYzWo5ow2+L3QC/RZ6GtOpMyoKvju9Iq3HTSMPDY5uIxtcdoVSo4zjtc63agbAMeoq8yY5Os9vIHi4HQc29RCpwDHqVmyB5ZGfOjPPd7O0cIdjkj6dwGtg5o900hzR0kZdBskQxxabtJadoJB7Qg6PvBNvpJ3NRzn9pEPWvRS4R/B8rZDV1UVmar6YPe7UAeXRygMxGFrSPvhc4Y4Lu6AQhCAQhCAKaU5IUGgb9xb9zHawYb1FOGhzb3cXchsbG18ekcq4F5Afk6brb/813nf0H4L6KqmP9sj1rg5cgVhcMhTt9HWHhGE/wBkPHuwOjX/AMlCSmEoFllkcb+WkHMNa3zlE4POcrz0gn95OulCAga5t9V3GtfgD3Lg4cu0BbdPu/0nI4uM0IJ82nbbvJWqsU8bfBEbB/HHSZ/pQHRT0/ralG6fSZ/p0g6Kel+osREzwVqOPJEZJun9JE418/VFTD9xY7dRpitDGeUrJ5dcHBwhAb0WYrUceJWO3YM4EPQUGJbpyeSH2M/ULARwtRgeRr6+LrX43dgsS0Nvdx4zngnE5apHiVNSjHrCiLeCPTf4NRU0VKHe1vYebWAPY6xT30kjeM022kFvZf6VDTsz6lZiLm8Vzm+i4t8EVBqnlBHVfvCQC+SyDal/ugx3pMbc/CFnd6k143ceIdLXZdTgT3oOifweY/5XVO2UzR8aUfVXeFx3eA9jXrfJtl8sPIaz38TyLtfVaBrHHWa89i7EgEIQgEIQgEhSpEGgb+A/BUnNUUp/agLz+XL0VvxSBuiaku5TAANRrwSZ2CxByByvyZ4rzpqs8yn+L/oQIXJhcpLM8yn+IPqKv5P9B8m36iB909pUQadlP8lH9RPaD5tP8lF9RBZiCuwxHuVSkDRfWihdcCxDI26uIJODdmC6gzdNoTk0NEB+jpVZHPq2NHihOzkVuKE4LdWbotC/mZnydL9Klbp7Qv5mHydL9ZXGfKtOjiOKxu7GLgQeift4rov3b0J+Zj8lS/XWM3QaW0OI+DooQOORdHTAuHNZxTC9WTftyOBmJ6QomN4I9J3g1bXpuooHsZ7Gjc2Xga5DWNaHY62AxWuxwAcFzhkTcHDHk6VLMb462bmG0zM+lWWxJY6PC7ZLD04/WFYZSv8AyjesxHwIUbMZAnPh5B1qdsMg/GQ9bbnuerEUD9sR+M36UHTt4Sl1G1r/ADjTN+KJT+8utLnu81TltNM93k7vnGDHlxAawcYEC2a6EgEIQgEIQgEiVIg0XfqH4IqeZ9L/AImNec7r0fv0D8D1fMaU9QqorrzbrIHEpt0l0l0DgVI0qEFSsKItwlXoj6lj4Vei+hVmsjE5XIneCoxK5H6lWVlrsFjN2DuDF6KyDcgsbuuyj6CorWYDwusJt06DjdYVcuUajIQuwCsMlsqDH4DoUb574ciNMqye5ur1PULXmz2UsdXsN+jFB6F3nZNakmP9aI/ZR/St+XN94pr/AGBK5zXtD6yQsLmloe0RRNJbfMawcL7Qdi6QgEIQgEIQgEiVCDVN9Kfyeiq1/C9qaOCbHhSMbjzY48115klc1wygB2llz8xel99xt9EV36Jp7JGH1Ly/dA8RjbD8n/oTgLckJ6ox9CiukugmsPycfVI4eEikaB+Sb1STHwkVYFSNKC9Bq43Y5psNXVMpubjO5PJddRi0HueNg3SNUMBi6w8YQuTxuV2KU7VZXLvnf3HU27m9Cni6WcPSdT+tgUzdymjDxdMw/CdSn1hcyiqDtOatMnOKus+F9ujt3FUruJpelPwYXeEixW6jcMzUDnaRp5NXIMiaD/elam2QYXDT0tCobo5NVrNUNbrA31QBfpsmwvFz4uG6b0Gyl1HNqI5S8tuwW1m3aTc2JytbrWvinuAS4NB2uY3xSxyknEk2OHMqTypXTiWTLdX5GMbg6VvUXO+YEwPgHnO6G3+c5Y9zkl1G2TbWxN4sXaWt7g31p/3WcOKyMdOufXbuWJul1kHpXeIrZZtGuMjrhlXM2IWADI9SN2qLe+c89a6Oub7wbLaKafOqag94HqXSEAhCEAhCEAhCEGq76Qvomv8A1d3cQV5YuvVe+WL6Kr/1SU9jbrymgW6LpEiBwKe0qNKCgsNcp2PVNpUzXIi/HJ4qyyVY1j/FTseiYybJVR3SSYR9BUjHqnuhdhH0FFxi4Dj1qq8qaA4qvIcUCEpLpEIpboukQg9QbxbbaHgPnSVJ/bOHqXQVom8i22haPnNSf/KlHqW9oBCEIBCEIBIlSINd3xB+C9IfqVR/dleUXBesd3wvozSH6hV90Ll5RlCCFCCkQDzgegrpGmdz8YmMMcVJBqMhc28QcZGkOMhcA4G3FAdfkdy4jm5Wam3TVcuqJ3xzhrQ0CaCF92azXariGgkazGmxPIgubrtHwwmmkgjMTKmlZLqFznWLrHDWJIwI7FgmlX9PafnrnMfUeTvGzUYI2ajQ298rn7BY9qCZhUzCq7CpmFBaYVV0+cI/RKnYVW04eJ6KDFwZnr8FDLmVNDmeg+CinHCKCNCEIBCEIPWG9FHq6HoRtiefjTPd61uS1fezZbRVAP6rGe0X9a2hAIQhAIQmkoFTSUhconyIMTu2x0fXt20NWP2D15RnXqndMTJS1UbBrOkpqhrWjNznROAHaV5TlcgiKRCECpQmpQgeFI0qIJ7UEzSpWFQNKlYUFhpVfTR4nQpWlQaXPF6EGOhz7fBNqxinQ5p1W3C6CohCEAhCzOgtAPqXsY58ULXkWfM8RMscbuceK3DOx5g7JB6p3v220Zo8f1GlPbE0+tbCqGhaMU9PBTt1S2GCGNpbctIYwNFrkm2HKVfQCEIQIVG9ykKhkQQyPVKonU8xWKq3oMXukqb01QNtPP8A3bl5la8uIaI2OPIAHNJ+KQvSOkm67HsOIexzTyZghcQ0ruNdC/VFTAHcjZXeSf2i47wg16aPUJD45Y8bE3DgDYG2Q5CDnyqMObyP+M0jwusz9ydIxXLWPeCSSY/Jzh18zwSSbqhJUPZwZ6duBJAe10bgS4uOfJja2xBWx5Cw9DgPGydwvNd1AnwVWTEkgWBJIAyA2BLEASLm2OexBYEo6FI2QbVE0OLi1r77NZ2B5tl0RtLgXarSG54AHuQWWuG0dqmaVRij1iGhpufNLunLFWZNHvZe4kZqjEuGqOrW1boLLSodKni9Cga1/JJ8YO/zSVbX2Gu9hwwtf6qCCHNTytuCFBCBflv1AditFBjSpIIHPNmi+05ADaScAFfh0YXG7rtbnbJx5zfijnPUCs9o+gc4iOFl3YENbha+GsSeKPfG5ONhyIKGj9FNZwncJ2GJFgL5WByx5TjsF7FdG3FbjnzvZLUMIhBv5MlzXSdJzaD06x5S3EHK7lNxbYy2Waz3jFotwWG3uRt98ccdmC6PQQBtgBZBmYQA0BoDQAAGgWAAGAA2KVRxjBSBAIQhAhUbwpUxwQUZ2rF1MV1mpmKhPGg12tpsD0HLNct0vudc1xJjLrXs6N5a4jna8EX612SeC6xtRQg8iDiT6TUOEj4z7+N7f7TNZTR1NVazJRKNnlI5L/Bfj3LqlToZjs2DsWHrNykD82DsQc7qHt/pFFBjmfIugcfhNsqjqSgfnFPEf91MJB2SBb5JuRLfapZGdD3AdixtTuaqR+Sl/SRMLj8IWKDUH6BpHcSqezmlgJ/tMNkw7mJMRFUUsl+Rs2oT8FwCz8+hZG8amHTFLI09jtYKjLRNGbamPpjZKO1pHggxTtztZGdb2PI4DzC14ItYjgEm1sESVMzA5sjaqNrm21daZjRtvr3uCsg2PV4lQxvT5WF3hbvVuGqrRxJXPHvZYpe4knuTBrBqNZobdt9dxNgOXLHrd3Jlbk3oPitqnrp7ff6aJ42zUg8bBUKipidxaKmB2tY4d2SDXqOIuOAwGZyaOknALL01KBjm7O9rW5wDxR749gVhkZJaC0hx4jGgEk+8Z6zltW47ndyDpLPnHBuCIsxzF590e4d6DDaC0DLUkanBjz8pa9+dgPGPv3dQOa6juf3PRU7QGtxzJNy5x2knEnnKv6P0c1gAAWZp6ZAU0Ky9LEmU1Mr7G2QOTgmpwQCEIQCQpUiCNzVA+JWiEhCDHvp1WkpVlixNMaDByUfMq0lFzLYXQqN1Og1p9DzKF9BzLZ3UyjdSoNVfo7mVeXQ7Tm0HqW3Gj5k32Gg0abcvC7OMdix0+4GB2TAD0BdLFGNilZRjYg5ON7twP3qWVnoyPHrUg3uKl+Dqqpt6bPEtuuuxUg2KyyIBBzfQe91HT8INu48Z7iXPd0uPgtqp9CauFlsQCEGMh0dZXI6UBToQIAlQhAJyRKgEIQgEIQgRCVCBLJLJyEDbJNVPQgj1EhjUqEEPk0nklOhBCIk8MT0IEshKhAiEqECISoQIhKhAiVCEAhCEH//Z">
            <a:hlinkClick r:id="rId2"/>
          </p:cNvPr>
          <p:cNvSpPr>
            <a:spLocks noChangeAspect="1" noChangeArrowheads="1"/>
          </p:cNvSpPr>
          <p:nvPr/>
        </p:nvSpPr>
        <p:spPr bwMode="auto">
          <a:xfrm>
            <a:off x="117475" y="-1790700"/>
            <a:ext cx="2895600" cy="3743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10" descr="data:image/jpeg;base64,/9j/4AAQSkZJRgABAQAAAQABAAD/2wCEAAkGBxAQEhIPDxAOEBAQEBAVEBAQDw8QEA8PFRIWFhUVFRUYHSggGRolGxYVITEhJSkrOi4uFx8zODMsNygtLisBCgoKDg0NFQ0PGCsZFRktKy0tNzAtKzQvNysrOC04Mis3KzA3NzUrMistLTc3MjctMSstNzgrKy4rNysrLS0rK//AABEIAP8AxQMBIgACEQEDEQH/xAAcAAABBAMBAAAAAAAAAAAAAAAAAQIDBAUGBwj/xABWEAABAwICAwsECwoLCQAAAAABAAIDBBEhMQUSUQYHIjJBYXGBkaGxE1JywRQzQmKCkpOy0dLwFSMlQ1NVc3SjwggWJDREZKKztOHiVGNlg4SUpMPj/8QAFwEBAQEBAAAAAAAAAAAAAAAAAAECA//EABwRAQEBAQACAwAAAAAAAAAAAAABEQISUSExQf/aAAwDAQACEQMRAD8A7ihCEAhCEAhCEAhCEAhCEAhCEAhCEAhCEAhCEAhCEAhCEAhCEAhCEAhCEAhCEAhImveALkgDaTYIHpFiqvdJQxYSVlK0jkM0Zd2A3WErd83REWdUHEcjI5T3kAd6DcELmVZv26MZxGVMnPaJo+cT3LB1e/3H+Kor7C+Z3gGDxQdpQuAVG/jXu9qpYGjk+9SuPbr27ljKjfY03JxXeTGxsUI+cwnvQekkLy1Ubt9Ny51UzfRldH8whY6et0nNhJUyOv58r3/Oug9YTVUbOPJGz0ntb4lUZN0dC3B1bRNPPUwD95eVm6NqHZzgdA/yCj0po18TGuknlfrX1Rc2b2n7XQeu6aqjlbrxPZI05Oje17e0KZeN9AaXrKOTy1FUSQy4X1SA2Qcgc08F45nBds3D79UE5bBpNraWbITtv7HecuGDjGe0Z4jJB1xKo45A4BzSHNcAWuaQWuByIIzCegVCRKgEIQgEIQgEIQgEiUpqDnu/NpGohp6cUtS+nllqC0BusBKNQk6z2m7QLX5b3XGKqlrJTeate4+iXHtJBXW9/L2ugOysd3wPXMnOQYg6DYePLUP6XgA9yT7j04/F36XP2dKybnfbrVd5+3Ugq+xIhlHH8Vp5OdIQBkAMshZSvP26lC4+pAE+KQetIT4oaglap48wq7fWrEeaCxEqe6v2uHod9vtsVyPJVN13tcPQft9tqDWqTM9SgreO7pHgFPR5nqUFbx3dPqQbPuJ3wK/RZDYH+Vp73dSykujNzclnKx2eI5cwV6C3E741BpQBkb/I1VuFSzEB9+XybspBgcsdoC8oxZhWwcQcQ5pBa5ps5pGRBQe00q8+biN+GqpQ2HSAdW04sPLt/nUTbZuv7YOcm/vjku46B07S10QnpJmTRnMtPCYbX1XtOLXcxAQZNCQJUAhCEAhCEAU0pxTSg5nv6+0UJ2V3/olXJpauNvGewdLmhdd39w00MAIY4mujDQ8XufIzZGxtt6B1LikdO5uTadnog37mBBK7SMWQkaTsbwj3JhqL8VkzuiGXZ0JSJPyoHwHH98KNzDyvcehrR43QBc8/ipB6RjZ3OcCmasnmMaNrpoj3NJKaWe/k7WDwamOYOUuOXu3eooCHyjzZgiPCYCdaSwL3hjc2bXBbqd7TSDSWyT0EeqeR07/FrVo4p2eby7XfSnvha86zwHE3uXcInrKDd/4gub7ZpOij/wCWP3pAmjcvRM9t09TA8oYKVvi9y06Okjw+9sz80K1FCwe4b8UIjavuPoZvH028+g+m9TCsbp2i0MWDyWkKupLfOLi1nZEAqUbBhgOwKruw4kPQUMUW6DPk3VML2uibcnWezWIacbDA36lgawcN3T6gp6TMjkJGHJcZJlQ8B7gRy5g45BFV4sx9uRWU2OIOPAIJ2ZO7OXqTjcGzgQRngbjpCBWkjEYHaMCsjobTM9JKJ6WaSnmHu47arxskjPBcOa3UVjkIPR29nvkO0k72LUwFlQGFwlhBdTytbmTyxnmPdcBdHXnLeHJ+6QAJ/m8xOOY4OfavRqAQhCAQhCAKaU4ppQc03+v5lSH/AIjF/h51x8uXY9/kfyCA7NIQn9jMPWuLOeNo7UDnOUTnJjp2jNzfjBQuqo/PZ8YIJXFRk+pROq4/Pb2oEoOWsfRa4+AQSgp7FAZLZtk+Sk+hXm6Pqf8AZK3/ALWf6qBI+RWI+VEejavC1FXn/pJ/WFaj0RXclBXfI6viQgGcip7seJF8JZiPQtf+b6vrEQ8Xqnup0LXOYzWo5ow2+L3QC/RZ6GtOpMyoKvju9Iq3HTSMPDY5uIxtcdoVSo4zjtc63agbAMeoq8yY5Os9vIHi4HQc29RCpwDHqVmyB5ZGfOjPPd7O0cIdjkj6dwGtg5o900hzR0kZdBskQxxabtJadoJB7Qg6PvBNvpJ3NRzn9pEPWvRS4R/B8rZDV1UVmar6YPe7UAeXRygMxGFrSPvhc4Y4Lu6AQhCAQhCAKaU5IUGgb9xb9zHawYb1FOGhzb3cXchsbG18ekcq4F5Afk6brb/813nf0H4L6KqmP9sj1rg5cgVhcMhTt9HWHhGE/wBkPHuwOjX/AMlCSmEoFllkcb+WkHMNa3zlE4POcrz0gn95OulCAga5t9V3GtfgD3Lg4cu0BbdPu/0nI4uM0IJ82nbbvJWqsU8bfBEbB/HHSZ/pQHRT0/ralG6fSZ/p0g6Kel+osREzwVqOPJEZJun9JE418/VFTD9xY7dRpitDGeUrJ5dcHBwhAb0WYrUceJWO3YM4EPQUGJbpyeSH2M/ULARwtRgeRr6+LrX43dgsS0Nvdx4zngnE5apHiVNSjHrCiLeCPTf4NRU0VKHe1vYebWAPY6xT30kjeM022kFvZf6VDTsz6lZiLm8Vzm+i4t8EVBqnlBHVfvCQC+SyDal/ugx3pMbc/CFnd6k143ceIdLXZdTgT3oOifweY/5XVO2UzR8aUfVXeFx3eA9jXrfJtl8sPIaz38TyLtfVaBrHHWa89i7EgEIQgEIQgEhSpEGgb+A/BUnNUUp/agLz+XL0VvxSBuiaku5TAANRrwSZ2CxByByvyZ4rzpqs8yn+L/oQIXJhcpLM8yn+IPqKv5P9B8m36iB909pUQadlP8lH9RPaD5tP8lF9RBZiCuwxHuVSkDRfWihdcCxDI26uIJODdmC6gzdNoTk0NEB+jpVZHPq2NHihOzkVuKE4LdWbotC/mZnydL9Klbp7Qv5mHydL9ZXGfKtOjiOKxu7GLgQeift4rov3b0J+Zj8lS/XWM3QaW0OI+DooQOORdHTAuHNZxTC9WTftyOBmJ6QomN4I9J3g1bXpuooHsZ7Gjc2Xga5DWNaHY62AxWuxwAcFzhkTcHDHk6VLMb462bmG0zM+lWWxJY6PC7ZLD04/WFYZSv8AyjesxHwIUbMZAnPh5B1qdsMg/GQ9bbnuerEUD9sR+M36UHTt4Sl1G1r/ADjTN+KJT+8utLnu81TltNM93k7vnGDHlxAawcYEC2a6EgEIQgEIQgEiVIg0XfqH4IqeZ9L/AImNec7r0fv0D8D1fMaU9QqorrzbrIHEpt0l0l0DgVI0qEFSsKItwlXoj6lj4Vei+hVmsjE5XIneCoxK5H6lWVlrsFjN2DuDF6KyDcgsbuuyj6CorWYDwusJt06DjdYVcuUajIQuwCsMlsqDH4DoUb574ciNMqye5ur1PULXmz2UsdXsN+jFB6F3nZNakmP9aI/ZR/St+XN94pr/AGBK5zXtD6yQsLmloe0RRNJbfMawcL7Qdi6QgEIQgEIQgEiVCDVN9Kfyeiq1/C9qaOCbHhSMbjzY48115klc1wygB2llz8xel99xt9EV36Jp7JGH1Ly/dA8RjbD8n/oTgLckJ6ox9CiukugmsPycfVI4eEikaB+Sb1STHwkVYFSNKC9Bq43Y5psNXVMpubjO5PJddRi0HueNg3SNUMBi6w8YQuTxuV2KU7VZXLvnf3HU27m9Cni6WcPSdT+tgUzdymjDxdMw/CdSn1hcyiqDtOatMnOKus+F9ujt3FUruJpelPwYXeEixW6jcMzUDnaRp5NXIMiaD/elam2QYXDT0tCobo5NVrNUNbrA31QBfpsmwvFz4uG6b0Gyl1HNqI5S8tuwW1m3aTc2JytbrWvinuAS4NB2uY3xSxyknEk2OHMqTypXTiWTLdX5GMbg6VvUXO+YEwPgHnO6G3+c5Y9zkl1G2TbWxN4sXaWt7g31p/3WcOKyMdOufXbuWJul1kHpXeIrZZtGuMjrhlXM2IWADI9SN2qLe+c89a6Oub7wbLaKafOqag94HqXSEAhCEAhCEAhCEGq76Qvomv8A1d3cQV5YuvVe+WL6Kr/1SU9jbrymgW6LpEiBwKe0qNKCgsNcp2PVNpUzXIi/HJ4qyyVY1j/FTseiYybJVR3SSYR9BUjHqnuhdhH0FFxi4Dj1qq8qaA4qvIcUCEpLpEIpboukQg9QbxbbaHgPnSVJ/bOHqXQVom8i22haPnNSf/KlHqW9oBCEIBCEIBIlSINd3xB+C9IfqVR/dleUXBesd3wvozSH6hV90Ll5RlCCFCCkQDzgegrpGmdz8YmMMcVJBqMhc28QcZGkOMhcA4G3FAdfkdy4jm5Wam3TVcuqJ3xzhrQ0CaCF92azXariGgkazGmxPIgubrtHwwmmkgjMTKmlZLqFznWLrHDWJIwI7FgmlX9PafnrnMfUeTvGzUYI2ajQ298rn7BY9qCZhUzCq7CpmFBaYVV0+cI/RKnYVW04eJ6KDFwZnr8FDLmVNDmeg+CinHCKCNCEIBCEIPWG9FHq6HoRtiefjTPd61uS1fezZbRVAP6rGe0X9a2hAIQhAIQmkoFTSUhconyIMTu2x0fXt20NWP2D15RnXqndMTJS1UbBrOkpqhrWjNznROAHaV5TlcgiKRCECpQmpQgeFI0qIJ7UEzSpWFQNKlYUFhpVfTR4nQpWlQaXPF6EGOhz7fBNqxinQ5p1W3C6CohCEAhCzOgtAPqXsY58ULXkWfM8RMscbuceK3DOx5g7JB6p3v220Zo8f1GlPbE0+tbCqGhaMU9PBTt1S2GCGNpbctIYwNFrkm2HKVfQCEIQIVG9ykKhkQQyPVKonU8xWKq3oMXukqb01QNtPP8A3bl5la8uIaI2OPIAHNJ+KQvSOkm67HsOIexzTyZghcQ0ruNdC/VFTAHcjZXeSf2i47wg16aPUJD45Y8bE3DgDYG2Q5CDnyqMObyP+M0jwusz9ydIxXLWPeCSSY/Jzh18zwSSbqhJUPZwZ6duBJAe10bgS4uOfJja2xBWx5Cw9DgPGydwvNd1AnwVWTEkgWBJIAyA2BLEASLm2OexBYEo6FI2QbVE0OLi1r77NZ2B5tl0RtLgXarSG54AHuQWWuG0dqmaVRij1iGhpufNLunLFWZNHvZe4kZqjEuGqOrW1boLLSodKni9Cga1/JJ8YO/zSVbX2Gu9hwwtf6qCCHNTytuCFBCBflv1AditFBjSpIIHPNmi+05ADaScAFfh0YXG7rtbnbJx5zfijnPUCs9o+gc4iOFl3YENbha+GsSeKPfG5ONhyIKGj9FNZwncJ2GJFgL5WByx5TjsF7FdG3FbjnzvZLUMIhBv5MlzXSdJzaD06x5S3EHK7lNxbYy2Waz3jFotwWG3uRt98ccdmC6PQQBtgBZBmYQA0BoDQAAGgWAAGAA2KVRxjBSBAIQhAhUbwpUxwQUZ2rF1MV1mpmKhPGg12tpsD0HLNct0vudc1xJjLrXs6N5a4jna8EX612SeC6xtRQg8iDiT6TUOEj4z7+N7f7TNZTR1NVazJRKNnlI5L/Bfj3LqlToZjs2DsWHrNykD82DsQc7qHt/pFFBjmfIugcfhNsqjqSgfnFPEf91MJB2SBb5JuRLfapZGdD3AdixtTuaqR+Sl/SRMLj8IWKDUH6BpHcSqezmlgJ/tMNkw7mJMRFUUsl+Rs2oT8FwCz8+hZG8amHTFLI09jtYKjLRNGbamPpjZKO1pHggxTtztZGdb2PI4DzC14ItYjgEm1sESVMzA5sjaqNrm21daZjRtvr3uCsg2PV4lQxvT5WF3hbvVuGqrRxJXPHvZYpe4knuTBrBqNZobdt9dxNgOXLHrd3Jlbk3oPitqnrp7ff6aJ42zUg8bBUKipidxaKmB2tY4d2SDXqOIuOAwGZyaOknALL01KBjm7O9rW5wDxR749gVhkZJaC0hx4jGgEk+8Z6zltW47ndyDpLPnHBuCIsxzF590e4d6DDaC0DLUkanBjz8pa9+dgPGPv3dQOa6juf3PRU7QGtxzJNy5x2knEnnKv6P0c1gAAWZp6ZAU0Ky9LEmU1Mr7G2QOTgmpwQCEIQCQpUiCNzVA+JWiEhCDHvp1WkpVlixNMaDByUfMq0lFzLYXQqN1Og1p9DzKF9BzLZ3UyjdSoNVfo7mVeXQ7Tm0HqW3Gj5k32Gg0abcvC7OMdix0+4GB2TAD0BdLFGNilZRjYg5ON7twP3qWVnoyPHrUg3uKl+Dqqpt6bPEtuuuxUg2KyyIBBzfQe91HT8INu48Z7iXPd0uPgtqp9CauFlsQCEGMh0dZXI6UBToQIAlQhAJyRKgEIQgEIQgRCVCBLJLJyEDbJNVPQgj1EhjUqEEPk0nklOhBCIk8MT0IEshKhAiEqECISoQIhKhAiVCEAhCEH//Z">
            <a:hlinkClick r:id="rId2"/>
          </p:cNvPr>
          <p:cNvSpPr>
            <a:spLocks noChangeAspect="1" noChangeArrowheads="1"/>
          </p:cNvSpPr>
          <p:nvPr/>
        </p:nvSpPr>
        <p:spPr bwMode="auto">
          <a:xfrm>
            <a:off x="269875" y="-1638300"/>
            <a:ext cx="2895600" cy="3743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62" name="Picture 14" descr="https://ruckus-www.s3.amazonaws.com/images/diagrams/vscg-virtual-machine-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39538" t="24533" b="17867"/>
          <a:stretch/>
        </p:blipFill>
        <p:spPr bwMode="auto">
          <a:xfrm>
            <a:off x="350519" y="4312920"/>
            <a:ext cx="4399915" cy="16459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32740" y="4033520"/>
            <a:ext cx="4434840" cy="246221"/>
          </a:xfrm>
          <a:prstGeom prst="rect">
            <a:avLst/>
          </a:prstGeom>
          <a:solidFill>
            <a:srgbClr val="C2D8DC"/>
          </a:solid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600" b="1" dirty="0" smtClean="0">
                <a:latin typeface="+mj-lt"/>
              </a:rPr>
              <a:t>Virtual Machine  Management</a:t>
            </a:r>
          </a:p>
        </p:txBody>
      </p:sp>
      <p:pic>
        <p:nvPicPr>
          <p:cNvPr id="2064" name="Picture 16" descr="http://up2v.nl/wp-content/uploads/2013/11/openstack-nova-cinder-diagram.png"/>
          <p:cNvPicPr>
            <a:picLocks noChangeAspect="1" noChangeArrowheads="1"/>
          </p:cNvPicPr>
          <p:nvPr/>
        </p:nvPicPr>
        <p:blipFill rotWithShape="1">
          <a:blip r:embed="rId4">
            <a:extLst>
              <a:ext uri="{28A0092B-C50C-407E-A947-70E740481C1C}">
                <a14:useLocalDpi xmlns:a14="http://schemas.microsoft.com/office/drawing/2010/main" val="0"/>
              </a:ext>
            </a:extLst>
          </a:blip>
          <a:srcRect b="50764"/>
          <a:stretch/>
        </p:blipFill>
        <p:spPr bwMode="auto">
          <a:xfrm>
            <a:off x="293666" y="1645921"/>
            <a:ext cx="4506933" cy="227076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309880" y="1318261"/>
            <a:ext cx="4478020" cy="276999"/>
          </a:xfrm>
          <a:prstGeom prst="rect">
            <a:avLst/>
          </a:prstGeom>
          <a:solidFill>
            <a:srgbClr val="C2D8DC"/>
          </a:solid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b="1" dirty="0" smtClean="0">
                <a:latin typeface="+mj-lt"/>
              </a:rPr>
              <a:t>Private Cloud</a:t>
            </a:r>
          </a:p>
        </p:txBody>
      </p:sp>
      <p:sp>
        <p:nvSpPr>
          <p:cNvPr id="20" name="TextBox 19"/>
          <p:cNvSpPr txBox="1"/>
          <p:nvPr/>
        </p:nvSpPr>
        <p:spPr>
          <a:xfrm>
            <a:off x="5143500" y="1051560"/>
            <a:ext cx="3594100" cy="541686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285750" indent="-285750" algn="just" fontAlgn="base">
              <a:buClr>
                <a:schemeClr val="tx2"/>
              </a:buClr>
              <a:buFont typeface="Wingdings" pitchFamily="2" charset="2"/>
              <a:buChar char="Ø"/>
            </a:pPr>
            <a:r>
              <a:rPr lang="en-IN" sz="1600" b="1" dirty="0"/>
              <a:t>Virtualization</a:t>
            </a:r>
            <a:r>
              <a:rPr lang="en-IN" sz="1600" dirty="0"/>
              <a:t> is a critical underlying, or enabling, technology for the </a:t>
            </a:r>
            <a:r>
              <a:rPr lang="en-IN" sz="1600" dirty="0" smtClean="0"/>
              <a:t>Private Cloud.</a:t>
            </a:r>
          </a:p>
          <a:p>
            <a:pPr marL="285750" indent="-285750" algn="just" fontAlgn="base">
              <a:buClr>
                <a:schemeClr val="tx2"/>
              </a:buClr>
              <a:buFont typeface="Wingdings" pitchFamily="2" charset="2"/>
              <a:buChar char="Ø"/>
            </a:pPr>
            <a:endParaRPr lang="en-IN" sz="1600" dirty="0"/>
          </a:p>
          <a:p>
            <a:pPr marL="285750" indent="-285750" algn="just" fontAlgn="base">
              <a:buClr>
                <a:schemeClr val="tx2"/>
              </a:buClr>
              <a:buFont typeface="Wingdings" pitchFamily="2" charset="2"/>
              <a:buChar char="Ø"/>
            </a:pPr>
            <a:r>
              <a:rPr lang="en-IN" sz="1600" b="1" dirty="0" smtClean="0"/>
              <a:t>Virtualization</a:t>
            </a:r>
            <a:r>
              <a:rPr lang="en-IN" sz="1600" dirty="0" smtClean="0"/>
              <a:t> </a:t>
            </a:r>
            <a:r>
              <a:rPr lang="en-IN" sz="1600" dirty="0"/>
              <a:t>provides </a:t>
            </a:r>
            <a:r>
              <a:rPr lang="en-IN" sz="1600" dirty="0" smtClean="0"/>
              <a:t>benefits </a:t>
            </a:r>
            <a:r>
              <a:rPr lang="en-IN" sz="1600" dirty="0"/>
              <a:t>in workload provisioning, management and </a:t>
            </a:r>
            <a:r>
              <a:rPr lang="en-IN" sz="1600" dirty="0" smtClean="0"/>
              <a:t>protection. It requires </a:t>
            </a:r>
            <a:r>
              <a:rPr lang="en-IN" sz="1600" dirty="0"/>
              <a:t>direct support and intervention from IT staff</a:t>
            </a:r>
            <a:r>
              <a:rPr lang="en-IN" sz="1600" dirty="0" smtClean="0"/>
              <a:t>.</a:t>
            </a:r>
          </a:p>
          <a:p>
            <a:pPr marL="285750" indent="-285750" algn="just" fontAlgn="base">
              <a:buClr>
                <a:schemeClr val="tx2"/>
              </a:buClr>
              <a:buFont typeface="Wingdings" pitchFamily="2" charset="2"/>
              <a:buChar char="Ø"/>
            </a:pPr>
            <a:endParaRPr lang="en-US" sz="1600" dirty="0"/>
          </a:p>
          <a:p>
            <a:pPr marL="285750" indent="-285750" algn="just" fontAlgn="base">
              <a:buClr>
                <a:schemeClr val="tx2"/>
              </a:buClr>
              <a:buFont typeface="Wingdings" pitchFamily="2" charset="2"/>
              <a:buChar char="Ø"/>
            </a:pPr>
            <a:r>
              <a:rPr lang="en-IN" sz="1600" dirty="0" smtClean="0"/>
              <a:t>A  </a:t>
            </a:r>
            <a:r>
              <a:rPr lang="en-IN" sz="1600" b="1" dirty="0" smtClean="0"/>
              <a:t>Private Cloud </a:t>
            </a:r>
            <a:r>
              <a:rPr lang="en-IN" sz="1600" dirty="0" smtClean="0"/>
              <a:t>Infrastructure builds </a:t>
            </a:r>
            <a:r>
              <a:rPr lang="en-IN" sz="1600" dirty="0"/>
              <a:t>on the benefits of virtualization to add new features that reduce reliance on IT staff, including self-service, scalability </a:t>
            </a:r>
            <a:r>
              <a:rPr lang="en-IN" sz="1600" dirty="0" smtClean="0"/>
              <a:t>and chargeback. </a:t>
            </a:r>
          </a:p>
          <a:p>
            <a:pPr marL="285750" indent="-285750" algn="just" fontAlgn="base">
              <a:buClr>
                <a:schemeClr val="tx2"/>
              </a:buClr>
              <a:buFont typeface="Wingdings" pitchFamily="2" charset="2"/>
              <a:buChar char="Ø"/>
            </a:pPr>
            <a:endParaRPr lang="en-IN" sz="1600" dirty="0">
              <a:latin typeface="+mj-lt"/>
            </a:endParaRPr>
          </a:p>
          <a:p>
            <a:pPr marL="285750" indent="-285750" algn="just" fontAlgn="base">
              <a:buClr>
                <a:schemeClr val="tx2"/>
              </a:buClr>
              <a:buFont typeface="Wingdings" pitchFamily="2" charset="2"/>
              <a:buChar char="Ø"/>
            </a:pPr>
            <a:r>
              <a:rPr lang="en-IN" sz="1600" b="1" dirty="0"/>
              <a:t>P</a:t>
            </a:r>
            <a:r>
              <a:rPr lang="en-IN" sz="1600" b="1" dirty="0" smtClean="0"/>
              <a:t>rivate </a:t>
            </a:r>
            <a:r>
              <a:rPr lang="en-IN" sz="1600" b="1" dirty="0"/>
              <a:t>cloud </a:t>
            </a:r>
            <a:r>
              <a:rPr lang="en-IN" sz="1600" dirty="0" smtClean="0"/>
              <a:t>integrates </a:t>
            </a:r>
            <a:r>
              <a:rPr lang="en-IN" sz="1600" dirty="0"/>
              <a:t>reporting and chargeback features, which can automatically track computing resource use and bill the VM owners based on their </a:t>
            </a:r>
            <a:r>
              <a:rPr lang="en-IN" sz="1600" dirty="0" smtClean="0"/>
              <a:t>utilization.</a:t>
            </a:r>
            <a:endParaRPr lang="en-US" sz="1600" dirty="0" smtClean="0">
              <a:latin typeface="+mj-lt"/>
            </a:endParaRPr>
          </a:p>
        </p:txBody>
      </p:sp>
      <p:sp>
        <p:nvSpPr>
          <p:cNvPr id="23" name="TextBox 22"/>
          <p:cNvSpPr txBox="1"/>
          <p:nvPr/>
        </p:nvSpPr>
        <p:spPr>
          <a:xfrm>
            <a:off x="1051560" y="426720"/>
            <a:ext cx="67665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fontAlgn="base">
              <a:spcBef>
                <a:spcPct val="0"/>
              </a:spcBef>
              <a:spcAft>
                <a:spcPct val="0"/>
              </a:spcAft>
              <a:defRPr lang="en-US" sz="2400" b="1" dirty="0">
                <a:solidFill>
                  <a:schemeClr val="tx1">
                    <a:lumMod val="50000"/>
                    <a:lumOff val="50000"/>
                  </a:schemeClr>
                </a:solidFill>
                <a:effectLst/>
                <a:latin typeface="Arial" pitchFamily="34" charset="0"/>
                <a:cs typeface="Arial" pitchFamily="34" charset="0"/>
              </a:defRPr>
            </a:lvl1pPr>
            <a:lvl2pPr fontAlgn="base">
              <a:spcBef>
                <a:spcPct val="0"/>
              </a:spcBef>
              <a:spcAft>
                <a:spcPct val="0"/>
              </a:spcAft>
              <a:defRPr sz="2400" b="1">
                <a:latin typeface="Arial" charset="0"/>
              </a:defRPr>
            </a:lvl2pPr>
            <a:lvl3pPr fontAlgn="base">
              <a:spcBef>
                <a:spcPct val="0"/>
              </a:spcBef>
              <a:spcAft>
                <a:spcPct val="0"/>
              </a:spcAft>
              <a:defRPr sz="2400" b="1">
                <a:latin typeface="Arial" charset="0"/>
              </a:defRPr>
            </a:lvl3pPr>
            <a:lvl4pPr fontAlgn="base">
              <a:spcBef>
                <a:spcPct val="0"/>
              </a:spcBef>
              <a:spcAft>
                <a:spcPct val="0"/>
              </a:spcAft>
              <a:defRPr sz="2400" b="1">
                <a:latin typeface="Arial" charset="0"/>
              </a:defRPr>
            </a:lvl4pPr>
            <a:lvl5pPr fontAlgn="base">
              <a:spcBef>
                <a:spcPct val="0"/>
              </a:spcBef>
              <a:spcAft>
                <a:spcPct val="0"/>
              </a:spcAft>
              <a:defRPr sz="2400" b="1">
                <a:latin typeface="Arial" charset="0"/>
              </a:defRPr>
            </a:lvl5pPr>
            <a:lvl6pPr marL="457200" fontAlgn="base">
              <a:spcBef>
                <a:spcPct val="0"/>
              </a:spcBef>
              <a:spcAft>
                <a:spcPct val="0"/>
              </a:spcAft>
              <a:defRPr sz="2400" b="1">
                <a:solidFill>
                  <a:schemeClr val="bg1"/>
                </a:solidFill>
                <a:latin typeface="Arial Narrow" pitchFamily="34" charset="0"/>
              </a:defRPr>
            </a:lvl6pPr>
            <a:lvl7pPr marL="914400" fontAlgn="base">
              <a:spcBef>
                <a:spcPct val="0"/>
              </a:spcBef>
              <a:spcAft>
                <a:spcPct val="0"/>
              </a:spcAft>
              <a:defRPr sz="2400" b="1">
                <a:solidFill>
                  <a:schemeClr val="bg1"/>
                </a:solidFill>
                <a:latin typeface="Arial Narrow" pitchFamily="34" charset="0"/>
              </a:defRPr>
            </a:lvl7pPr>
            <a:lvl8pPr marL="1371600" fontAlgn="base">
              <a:spcBef>
                <a:spcPct val="0"/>
              </a:spcBef>
              <a:spcAft>
                <a:spcPct val="0"/>
              </a:spcAft>
              <a:defRPr sz="2400" b="1">
                <a:solidFill>
                  <a:schemeClr val="bg1"/>
                </a:solidFill>
                <a:latin typeface="Arial Narrow" pitchFamily="34" charset="0"/>
              </a:defRPr>
            </a:lvl8pPr>
            <a:lvl9pPr marL="1828800" fontAlgn="base">
              <a:spcBef>
                <a:spcPct val="0"/>
              </a:spcBef>
              <a:spcAft>
                <a:spcPct val="0"/>
              </a:spcAft>
              <a:defRPr sz="2400" b="1">
                <a:solidFill>
                  <a:schemeClr val="bg1"/>
                </a:solidFill>
                <a:latin typeface="Arial Narrow" pitchFamily="34" charset="0"/>
              </a:defRPr>
            </a:lvl9pPr>
          </a:lstStyle>
          <a:p>
            <a:pPr algn="ctr"/>
            <a:r>
              <a:rPr lang="en-US" dirty="0" smtClean="0"/>
              <a:t>Virtualization and Private Cloud</a:t>
            </a:r>
            <a:endParaRPr lang="en-US" dirty="0"/>
          </a:p>
        </p:txBody>
      </p:sp>
    </p:spTree>
    <p:extLst>
      <p:ext uri="{BB962C8B-B14F-4D97-AF65-F5344CB8AC3E}">
        <p14:creationId xmlns:p14="http://schemas.microsoft.com/office/powerpoint/2010/main" val="76096920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52400" y="960120"/>
            <a:ext cx="4800600" cy="527304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AutoShape 2" descr="Image result for server"/>
          <p:cNvSpPr>
            <a:spLocks noChangeAspect="1" noChangeArrowheads="1"/>
          </p:cNvSpPr>
          <p:nvPr/>
        </p:nvSpPr>
        <p:spPr bwMode="auto">
          <a:xfrm>
            <a:off x="1174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server"/>
          <p:cNvSpPr>
            <a:spLocks noChangeAspect="1" noChangeArrowheads="1"/>
          </p:cNvSpPr>
          <p:nvPr/>
        </p:nvSpPr>
        <p:spPr bwMode="auto">
          <a:xfrm>
            <a:off x="2698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server"/>
          <p:cNvSpPr>
            <a:spLocks noChangeAspect="1" noChangeArrowheads="1"/>
          </p:cNvSpPr>
          <p:nvPr/>
        </p:nvSpPr>
        <p:spPr bwMode="auto">
          <a:xfrm>
            <a:off x="4222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62" name="Picture 14" descr="https://ruckus-www.s3.amazonaws.com/images/diagrams/vscg-virtual-machine-management.png"/>
          <p:cNvPicPr>
            <a:picLocks noChangeAspect="1" noChangeArrowheads="1"/>
          </p:cNvPicPr>
          <p:nvPr/>
        </p:nvPicPr>
        <p:blipFill rotWithShape="1">
          <a:blip r:embed="rId2">
            <a:extLst>
              <a:ext uri="{28A0092B-C50C-407E-A947-70E740481C1C}">
                <a14:useLocalDpi xmlns:a14="http://schemas.microsoft.com/office/drawing/2010/main" val="0"/>
              </a:ext>
            </a:extLst>
          </a:blip>
          <a:srcRect l="39538" t="24533" b="17867"/>
          <a:stretch/>
        </p:blipFill>
        <p:spPr bwMode="auto">
          <a:xfrm>
            <a:off x="350519" y="4312920"/>
            <a:ext cx="4399915" cy="16459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32740" y="4033520"/>
            <a:ext cx="4434840" cy="246221"/>
          </a:xfrm>
          <a:prstGeom prst="rect">
            <a:avLst/>
          </a:prstGeom>
          <a:solidFill>
            <a:srgbClr val="C2D8DC"/>
          </a:solid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600" b="1" dirty="0" smtClean="0">
                <a:latin typeface="+mj-lt"/>
              </a:rPr>
              <a:t>Virtual Machine  Management</a:t>
            </a:r>
          </a:p>
        </p:txBody>
      </p:sp>
      <p:pic>
        <p:nvPicPr>
          <p:cNvPr id="2064" name="Picture 16" descr="http://up2v.nl/wp-content/uploads/2013/11/openstack-nova-cinder-diagram.png"/>
          <p:cNvPicPr>
            <a:picLocks noChangeAspect="1" noChangeArrowheads="1"/>
          </p:cNvPicPr>
          <p:nvPr/>
        </p:nvPicPr>
        <p:blipFill rotWithShape="1">
          <a:blip r:embed="rId3">
            <a:extLst>
              <a:ext uri="{28A0092B-C50C-407E-A947-70E740481C1C}">
                <a14:useLocalDpi xmlns:a14="http://schemas.microsoft.com/office/drawing/2010/main" val="0"/>
              </a:ext>
            </a:extLst>
          </a:blip>
          <a:srcRect l="2367" t="2352" r="1352" b="67252"/>
          <a:stretch/>
        </p:blipFill>
        <p:spPr bwMode="auto">
          <a:xfrm>
            <a:off x="324146" y="1661161"/>
            <a:ext cx="4476453" cy="2270759"/>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309880" y="1318261"/>
            <a:ext cx="4478020" cy="276999"/>
          </a:xfrm>
          <a:prstGeom prst="rect">
            <a:avLst/>
          </a:prstGeom>
          <a:solidFill>
            <a:srgbClr val="C2D8DC"/>
          </a:solid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b="1" dirty="0" smtClean="0">
                <a:latin typeface="+mj-lt"/>
              </a:rPr>
              <a:t>Private Cloud</a:t>
            </a:r>
          </a:p>
        </p:txBody>
      </p:sp>
      <p:sp>
        <p:nvSpPr>
          <p:cNvPr id="23" name="TextBox 22"/>
          <p:cNvSpPr txBox="1"/>
          <p:nvPr/>
        </p:nvSpPr>
        <p:spPr>
          <a:xfrm>
            <a:off x="1051560" y="411480"/>
            <a:ext cx="67665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fontAlgn="base">
              <a:spcBef>
                <a:spcPct val="0"/>
              </a:spcBef>
              <a:spcAft>
                <a:spcPct val="0"/>
              </a:spcAft>
              <a:defRPr lang="en-US" sz="2400" b="1" dirty="0">
                <a:solidFill>
                  <a:schemeClr val="tx1">
                    <a:lumMod val="50000"/>
                    <a:lumOff val="50000"/>
                  </a:schemeClr>
                </a:solidFill>
                <a:effectLst/>
                <a:latin typeface="Arial" pitchFamily="34" charset="0"/>
                <a:cs typeface="Arial" pitchFamily="34" charset="0"/>
              </a:defRPr>
            </a:lvl1pPr>
            <a:lvl2pPr fontAlgn="base">
              <a:spcBef>
                <a:spcPct val="0"/>
              </a:spcBef>
              <a:spcAft>
                <a:spcPct val="0"/>
              </a:spcAft>
              <a:defRPr sz="2400" b="1">
                <a:latin typeface="Arial" charset="0"/>
              </a:defRPr>
            </a:lvl2pPr>
            <a:lvl3pPr fontAlgn="base">
              <a:spcBef>
                <a:spcPct val="0"/>
              </a:spcBef>
              <a:spcAft>
                <a:spcPct val="0"/>
              </a:spcAft>
              <a:defRPr sz="2400" b="1">
                <a:latin typeface="Arial" charset="0"/>
              </a:defRPr>
            </a:lvl3pPr>
            <a:lvl4pPr fontAlgn="base">
              <a:spcBef>
                <a:spcPct val="0"/>
              </a:spcBef>
              <a:spcAft>
                <a:spcPct val="0"/>
              </a:spcAft>
              <a:defRPr sz="2400" b="1">
                <a:latin typeface="Arial" charset="0"/>
              </a:defRPr>
            </a:lvl4pPr>
            <a:lvl5pPr fontAlgn="base">
              <a:spcBef>
                <a:spcPct val="0"/>
              </a:spcBef>
              <a:spcAft>
                <a:spcPct val="0"/>
              </a:spcAft>
              <a:defRPr sz="2400" b="1">
                <a:latin typeface="Arial" charset="0"/>
              </a:defRPr>
            </a:lvl5pPr>
            <a:lvl6pPr marL="457200" fontAlgn="base">
              <a:spcBef>
                <a:spcPct val="0"/>
              </a:spcBef>
              <a:spcAft>
                <a:spcPct val="0"/>
              </a:spcAft>
              <a:defRPr sz="2400" b="1">
                <a:solidFill>
                  <a:schemeClr val="bg1"/>
                </a:solidFill>
                <a:latin typeface="Arial Narrow" pitchFamily="34" charset="0"/>
              </a:defRPr>
            </a:lvl6pPr>
            <a:lvl7pPr marL="914400" fontAlgn="base">
              <a:spcBef>
                <a:spcPct val="0"/>
              </a:spcBef>
              <a:spcAft>
                <a:spcPct val="0"/>
              </a:spcAft>
              <a:defRPr sz="2400" b="1">
                <a:solidFill>
                  <a:schemeClr val="bg1"/>
                </a:solidFill>
                <a:latin typeface="Arial Narrow" pitchFamily="34" charset="0"/>
              </a:defRPr>
            </a:lvl7pPr>
            <a:lvl8pPr marL="1371600" fontAlgn="base">
              <a:spcBef>
                <a:spcPct val="0"/>
              </a:spcBef>
              <a:spcAft>
                <a:spcPct val="0"/>
              </a:spcAft>
              <a:defRPr sz="2400" b="1">
                <a:solidFill>
                  <a:schemeClr val="bg1"/>
                </a:solidFill>
                <a:latin typeface="Arial Narrow" pitchFamily="34" charset="0"/>
              </a:defRPr>
            </a:lvl8pPr>
            <a:lvl9pPr marL="1828800" fontAlgn="base">
              <a:spcBef>
                <a:spcPct val="0"/>
              </a:spcBef>
              <a:spcAft>
                <a:spcPct val="0"/>
              </a:spcAft>
              <a:defRPr sz="2400" b="1">
                <a:solidFill>
                  <a:schemeClr val="bg1"/>
                </a:solidFill>
                <a:latin typeface="Arial Narrow" pitchFamily="34" charset="0"/>
              </a:defRPr>
            </a:lvl9pPr>
          </a:lstStyle>
          <a:p>
            <a:pPr algn="ctr"/>
            <a:r>
              <a:rPr lang="en-US" dirty="0" smtClean="0"/>
              <a:t>Private Cloud Deployment</a:t>
            </a:r>
            <a:endParaRPr lang="en-US" dirty="0"/>
          </a:p>
        </p:txBody>
      </p:sp>
      <p:sp>
        <p:nvSpPr>
          <p:cNvPr id="4" name="Rounded Rectangle 3"/>
          <p:cNvSpPr/>
          <p:nvPr/>
        </p:nvSpPr>
        <p:spPr>
          <a:xfrm>
            <a:off x="5471160" y="4312920"/>
            <a:ext cx="3474720" cy="1798320"/>
          </a:xfrm>
          <a:prstGeom prst="roundRect">
            <a:avLst/>
          </a:prstGeom>
          <a:solidFill>
            <a:schemeClr val="accent4">
              <a:lumMod val="75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i="1" dirty="0" smtClean="0">
                <a:solidFill>
                  <a:schemeClr val="bg1"/>
                </a:solidFill>
              </a:rPr>
              <a:t>Hypervisor</a:t>
            </a:r>
          </a:p>
          <a:p>
            <a:pPr algn="ctr"/>
            <a:endParaRPr lang="en-US" b="1" i="1" dirty="0" smtClean="0">
              <a:solidFill>
                <a:schemeClr val="bg1"/>
              </a:solidFill>
            </a:endParaRPr>
          </a:p>
          <a:p>
            <a:pPr marL="285750" indent="-285750">
              <a:buFont typeface="Arial" pitchFamily="34" charset="0"/>
              <a:buChar char="•"/>
            </a:pPr>
            <a:r>
              <a:rPr lang="en-US" sz="1600" b="1" dirty="0" smtClean="0">
                <a:solidFill>
                  <a:schemeClr val="bg1"/>
                </a:solidFill>
              </a:rPr>
              <a:t>VMware:: 	ESXi </a:t>
            </a:r>
          </a:p>
          <a:p>
            <a:pPr marL="285750" indent="-285750">
              <a:buFont typeface="Arial" pitchFamily="34" charset="0"/>
              <a:buChar char="•"/>
            </a:pPr>
            <a:r>
              <a:rPr lang="en-US" sz="1600" b="1" dirty="0" smtClean="0">
                <a:solidFill>
                  <a:schemeClr val="bg1"/>
                </a:solidFill>
              </a:rPr>
              <a:t>Microsoft:: 	Hyper-V</a:t>
            </a:r>
          </a:p>
          <a:p>
            <a:pPr marL="285750" indent="-285750">
              <a:buFont typeface="Arial" pitchFamily="34" charset="0"/>
              <a:buChar char="•"/>
            </a:pPr>
            <a:r>
              <a:rPr lang="en-US" sz="1600" b="1" dirty="0" smtClean="0">
                <a:solidFill>
                  <a:schemeClr val="bg1"/>
                </a:solidFill>
              </a:rPr>
              <a:t>Oracle::	VirtualBox</a:t>
            </a:r>
          </a:p>
          <a:p>
            <a:pPr marL="285750" indent="-285750">
              <a:buFont typeface="Arial" pitchFamily="34" charset="0"/>
              <a:buChar char="•"/>
            </a:pPr>
            <a:r>
              <a:rPr lang="en-US" sz="1600" b="1" dirty="0" smtClean="0">
                <a:solidFill>
                  <a:schemeClr val="bg1"/>
                </a:solidFill>
              </a:rPr>
              <a:t>OpenSource::	KVM ,</a:t>
            </a:r>
          </a:p>
          <a:p>
            <a:pPr marL="285750" indent="-285750">
              <a:buFont typeface="Arial" pitchFamily="34" charset="0"/>
              <a:buChar char="•"/>
            </a:pPr>
            <a:r>
              <a:rPr lang="en-US" sz="1600" b="1" dirty="0" smtClean="0">
                <a:solidFill>
                  <a:schemeClr val="bg1"/>
                </a:solidFill>
              </a:rPr>
              <a:t>Citrix::	Xen Server</a:t>
            </a:r>
            <a:endParaRPr lang="en-US" sz="1600" b="1" dirty="0">
              <a:solidFill>
                <a:schemeClr val="bg1"/>
              </a:solidFill>
            </a:endParaRPr>
          </a:p>
        </p:txBody>
      </p:sp>
      <p:sp>
        <p:nvSpPr>
          <p:cNvPr id="5" name="Left Arrow 4"/>
          <p:cNvSpPr/>
          <p:nvPr/>
        </p:nvSpPr>
        <p:spPr>
          <a:xfrm>
            <a:off x="4754880" y="4587240"/>
            <a:ext cx="701040" cy="289560"/>
          </a:xfrm>
          <a:prstGeom prst="leftArrow">
            <a:avLst/>
          </a:prstGeom>
          <a:solidFill>
            <a:srgbClr val="FF0000"/>
          </a:solid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ounded Rectangle 15"/>
          <p:cNvSpPr/>
          <p:nvPr/>
        </p:nvSpPr>
        <p:spPr>
          <a:xfrm>
            <a:off x="5501640" y="2270760"/>
            <a:ext cx="3489960" cy="1798320"/>
          </a:xfrm>
          <a:prstGeom prst="roundRect">
            <a:avLst/>
          </a:prstGeom>
          <a:solidFill>
            <a:schemeClr val="accent3">
              <a:lumMod val="75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i="1" dirty="0" smtClean="0">
                <a:solidFill>
                  <a:schemeClr val="bg1"/>
                </a:solidFill>
              </a:rPr>
              <a:t>Cloud Platform</a:t>
            </a:r>
          </a:p>
          <a:p>
            <a:pPr algn="ctr"/>
            <a:endParaRPr lang="en-US" b="1" dirty="0" smtClean="0">
              <a:solidFill>
                <a:schemeClr val="bg1"/>
              </a:solidFill>
            </a:endParaRPr>
          </a:p>
          <a:p>
            <a:pPr marL="285750" indent="-285750">
              <a:buFont typeface="Arial" pitchFamily="34" charset="0"/>
              <a:buChar char="•"/>
            </a:pPr>
            <a:r>
              <a:rPr lang="en-US" sz="1600" dirty="0">
                <a:solidFill>
                  <a:schemeClr val="bg1"/>
                </a:solidFill>
              </a:rPr>
              <a:t>VMware::         </a:t>
            </a:r>
            <a:r>
              <a:rPr lang="en-US" sz="1600" dirty="0" err="1">
                <a:solidFill>
                  <a:schemeClr val="bg1"/>
                </a:solidFill>
              </a:rPr>
              <a:t>vCloud</a:t>
            </a:r>
            <a:r>
              <a:rPr lang="en-US" sz="1600" dirty="0">
                <a:solidFill>
                  <a:schemeClr val="bg1"/>
                </a:solidFill>
              </a:rPr>
              <a:t> Suite</a:t>
            </a:r>
          </a:p>
          <a:p>
            <a:pPr marL="285750" indent="-285750">
              <a:buFont typeface="Arial" pitchFamily="34" charset="0"/>
              <a:buChar char="•"/>
            </a:pPr>
            <a:r>
              <a:rPr lang="en-US" sz="1600" dirty="0">
                <a:solidFill>
                  <a:schemeClr val="bg1"/>
                </a:solidFill>
              </a:rPr>
              <a:t>Microsoft::       System Center</a:t>
            </a:r>
          </a:p>
          <a:p>
            <a:pPr marL="285750" indent="-285750">
              <a:buFont typeface="Arial" pitchFamily="34" charset="0"/>
              <a:buChar char="•"/>
            </a:pPr>
            <a:r>
              <a:rPr lang="en-US" sz="1600" dirty="0" smtClean="0">
                <a:solidFill>
                  <a:schemeClr val="bg1"/>
                </a:solidFill>
              </a:rPr>
              <a:t>OpenSource::  </a:t>
            </a:r>
            <a:r>
              <a:rPr lang="en-US" sz="1600" dirty="0" err="1" smtClean="0">
                <a:solidFill>
                  <a:schemeClr val="bg1"/>
                </a:solidFill>
              </a:rPr>
              <a:t>OpenStack</a:t>
            </a:r>
            <a:endParaRPr lang="en-US" sz="1600" dirty="0" smtClean="0">
              <a:solidFill>
                <a:schemeClr val="bg1"/>
              </a:solidFill>
            </a:endParaRPr>
          </a:p>
          <a:p>
            <a:pPr marL="285750" indent="-285750">
              <a:buFont typeface="Arial" pitchFamily="34" charset="0"/>
              <a:buChar char="•"/>
            </a:pPr>
            <a:r>
              <a:rPr lang="en-US" sz="1600" dirty="0">
                <a:solidFill>
                  <a:schemeClr val="bg1"/>
                </a:solidFill>
              </a:rPr>
              <a:t>OpenSource</a:t>
            </a:r>
            <a:r>
              <a:rPr lang="en-US" sz="1600" dirty="0" smtClean="0">
                <a:solidFill>
                  <a:schemeClr val="bg1"/>
                </a:solidFill>
              </a:rPr>
              <a:t>::  </a:t>
            </a:r>
            <a:r>
              <a:rPr lang="en-US" sz="1600" dirty="0" err="1" smtClean="0">
                <a:solidFill>
                  <a:schemeClr val="bg1"/>
                </a:solidFill>
              </a:rPr>
              <a:t>CloudStack</a:t>
            </a:r>
            <a:endParaRPr lang="en-US" sz="1600" dirty="0">
              <a:solidFill>
                <a:schemeClr val="bg1"/>
              </a:solidFill>
            </a:endParaRPr>
          </a:p>
        </p:txBody>
      </p:sp>
      <p:sp>
        <p:nvSpPr>
          <p:cNvPr id="18" name="Left Arrow 17"/>
          <p:cNvSpPr/>
          <p:nvPr/>
        </p:nvSpPr>
        <p:spPr>
          <a:xfrm>
            <a:off x="4724400" y="3093720"/>
            <a:ext cx="762000" cy="259080"/>
          </a:xfrm>
          <a:prstGeom prst="leftArrow">
            <a:avLst/>
          </a:prstGeom>
          <a:solidFill>
            <a:srgbClr val="FF0000"/>
          </a:solid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5867466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1012" y="727075"/>
            <a:ext cx="8226425" cy="492443"/>
          </a:xfrm>
        </p:spPr>
        <p:txBody>
          <a:bodyPr/>
          <a:lstStyle/>
          <a:p>
            <a:pPr>
              <a:defRPr/>
            </a:pPr>
            <a:r>
              <a:rPr lang="en-IN" dirty="0">
                <a:solidFill>
                  <a:srgbClr val="6D6E71"/>
                </a:solidFill>
                <a:cs typeface="+mj-cs"/>
              </a:rPr>
              <a:t>Cloud Service </a:t>
            </a:r>
            <a:r>
              <a:rPr lang="en-IN" dirty="0" smtClean="0">
                <a:solidFill>
                  <a:srgbClr val="6D6E71"/>
                </a:solidFill>
                <a:cs typeface="+mj-cs"/>
              </a:rPr>
              <a:t>Models</a:t>
            </a:r>
            <a:endParaRPr lang="en-IN" dirty="0">
              <a:solidFill>
                <a:srgbClr val="6D6E71"/>
              </a:solidFill>
              <a:cs typeface="+mj-cs"/>
            </a:endParaRPr>
          </a:p>
        </p:txBody>
      </p:sp>
      <p:graphicFrame>
        <p:nvGraphicFramePr>
          <p:cNvPr id="19" name="Diagram 18"/>
          <p:cNvGraphicFramePr/>
          <p:nvPr>
            <p:extLst>
              <p:ext uri="{D42A27DB-BD31-4B8C-83A1-F6EECF244321}">
                <p14:modId xmlns:p14="http://schemas.microsoft.com/office/powerpoint/2010/main" val="456758291"/>
              </p:ext>
            </p:extLst>
          </p:nvPr>
        </p:nvGraphicFramePr>
        <p:xfrm>
          <a:off x="667512" y="1435608"/>
          <a:ext cx="7625149" cy="3486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82393" y="5021380"/>
            <a:ext cx="1885008" cy="157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20040" y="5525194"/>
            <a:ext cx="3749040" cy="400110"/>
          </a:xfrm>
          <a:prstGeom prst="rect">
            <a:avLst/>
          </a:prstGeom>
        </p:spPr>
        <p:txBody>
          <a:bodyPr wrap="square">
            <a:spAutoFit/>
          </a:bodyPr>
          <a:lstStyle/>
          <a:p>
            <a:pPr algn="ctr"/>
            <a:r>
              <a:rPr lang="en-US" sz="2000" dirty="0" smtClean="0">
                <a:hlinkClick r:id="rId9"/>
              </a:rPr>
              <a:t>Cloud Service Model Video</a:t>
            </a:r>
            <a:endParaRPr lang="en-US" sz="2000" dirty="0" smtClean="0"/>
          </a:p>
        </p:txBody>
      </p:sp>
    </p:spTree>
    <p:extLst>
      <p:ext uri="{BB962C8B-B14F-4D97-AF65-F5344CB8AC3E}">
        <p14:creationId xmlns:p14="http://schemas.microsoft.com/office/powerpoint/2010/main" val="338192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7529945"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sz="3200" dirty="0" smtClean="0">
                <a:solidFill>
                  <a:srgbClr val="6D6E71"/>
                </a:solidFill>
              </a:rPr>
              <a:t>Agenda : Cloud Computing</a:t>
            </a:r>
            <a:endParaRPr lang="en-IN" sz="2400" dirty="0">
              <a:solidFill>
                <a:srgbClr val="6D6E71"/>
              </a:solidFill>
            </a:endParaRPr>
          </a:p>
        </p:txBody>
      </p:sp>
      <p:pic>
        <p:nvPicPr>
          <p:cNvPr id="5123" name="Picture 3" descr="C:\Users\bk0c41241\Pictures\imagesCA3PSIK4.jpg"/>
          <p:cNvPicPr>
            <a:picLocks noChangeAspect="1" noChangeArrowheads="1"/>
          </p:cNvPicPr>
          <p:nvPr/>
        </p:nvPicPr>
        <p:blipFill rotWithShape="1">
          <a:blip r:embed="rId3">
            <a:extLst>
              <a:ext uri="{28A0092B-C50C-407E-A947-70E740481C1C}">
                <a14:useLocalDpi xmlns:a14="http://schemas.microsoft.com/office/drawing/2010/main" val="0"/>
              </a:ext>
            </a:extLst>
          </a:blip>
          <a:srcRect b="14885"/>
          <a:stretch/>
        </p:blipFill>
        <p:spPr bwMode="auto">
          <a:xfrm>
            <a:off x="6400800" y="4329751"/>
            <a:ext cx="2288914" cy="194821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Content Placeholder 3"/>
          <p:cNvGraphicFramePr>
            <a:graphicFrameLocks/>
          </p:cNvGraphicFramePr>
          <p:nvPr>
            <p:extLst>
              <p:ext uri="{D42A27DB-BD31-4B8C-83A1-F6EECF244321}">
                <p14:modId xmlns:p14="http://schemas.microsoft.com/office/powerpoint/2010/main" val="703552055"/>
              </p:ext>
            </p:extLst>
          </p:nvPr>
        </p:nvGraphicFramePr>
        <p:xfrm>
          <a:off x="671221" y="1342770"/>
          <a:ext cx="5470499" cy="4433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683034017"/>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274980" y="539433"/>
            <a:ext cx="9280499"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IN" sz="3200" dirty="0">
                <a:solidFill>
                  <a:srgbClr val="6D6E71"/>
                </a:solidFill>
              </a:rPr>
              <a:t>Cloud </a:t>
            </a:r>
            <a:r>
              <a:rPr lang="en-IN" sz="3200" dirty="0" smtClean="0">
                <a:solidFill>
                  <a:srgbClr val="6D6E71"/>
                </a:solidFill>
              </a:rPr>
              <a:t>Stack: IaaS / PaaS / </a:t>
            </a:r>
            <a:r>
              <a:rPr lang="en-IN" sz="3200" dirty="0" err="1" smtClean="0">
                <a:solidFill>
                  <a:srgbClr val="6D6E71"/>
                </a:solidFill>
              </a:rPr>
              <a:t>SaaS</a:t>
            </a:r>
            <a:r>
              <a:rPr lang="en-IN" sz="3200" dirty="0" smtClean="0">
                <a:solidFill>
                  <a:srgbClr val="6D6E71"/>
                </a:solidFill>
              </a:rPr>
              <a:t> Comparison </a:t>
            </a:r>
            <a:endParaRPr lang="en-IN" sz="3200" dirty="0">
              <a:solidFill>
                <a:srgbClr val="6D6E71"/>
              </a:solidFill>
            </a:endParaRPr>
          </a:p>
        </p:txBody>
      </p:sp>
      <p:grpSp>
        <p:nvGrpSpPr>
          <p:cNvPr id="75" name="Group 74"/>
          <p:cNvGrpSpPr/>
          <p:nvPr/>
        </p:nvGrpSpPr>
        <p:grpSpPr>
          <a:xfrm>
            <a:off x="357052" y="1147917"/>
            <a:ext cx="8510908" cy="5482156"/>
            <a:chOff x="152635" y="938514"/>
            <a:chExt cx="8770139" cy="5609769"/>
          </a:xfrm>
        </p:grpSpPr>
        <p:sp>
          <p:nvSpPr>
            <p:cNvPr id="76" name="Rounded Rectangle 75"/>
            <p:cNvSpPr/>
            <p:nvPr/>
          </p:nvSpPr>
          <p:spPr>
            <a:xfrm>
              <a:off x="705024" y="1372384"/>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Applications</a:t>
              </a:r>
            </a:p>
          </p:txBody>
        </p:sp>
        <p:sp>
          <p:nvSpPr>
            <p:cNvPr id="77" name="Rounded Rectangle 76"/>
            <p:cNvSpPr/>
            <p:nvPr/>
          </p:nvSpPr>
          <p:spPr>
            <a:xfrm>
              <a:off x="705024" y="1864576"/>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evelopment &amp; Runtime Kernels</a:t>
              </a:r>
            </a:p>
          </p:txBody>
        </p:sp>
        <p:sp>
          <p:nvSpPr>
            <p:cNvPr id="78" name="Rounded Rectangle 77"/>
            <p:cNvSpPr/>
            <p:nvPr/>
          </p:nvSpPr>
          <p:spPr>
            <a:xfrm>
              <a:off x="705024" y="2356768"/>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atabases</a:t>
              </a:r>
            </a:p>
          </p:txBody>
        </p:sp>
        <p:sp>
          <p:nvSpPr>
            <p:cNvPr id="79" name="Rounded Rectangle 78"/>
            <p:cNvSpPr/>
            <p:nvPr/>
          </p:nvSpPr>
          <p:spPr>
            <a:xfrm>
              <a:off x="705024" y="2848960"/>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accent5"/>
                  </a:solidFill>
                </a:rPr>
                <a:t>Security, Management, Load Balancing &amp; Integration</a:t>
              </a:r>
            </a:p>
          </p:txBody>
        </p:sp>
        <p:sp>
          <p:nvSpPr>
            <p:cNvPr id="80" name="Rounded Rectangle 79"/>
            <p:cNvSpPr/>
            <p:nvPr/>
          </p:nvSpPr>
          <p:spPr>
            <a:xfrm>
              <a:off x="705024" y="3341152"/>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Operating System</a:t>
              </a:r>
              <a:endParaRPr lang="en-US" sz="1050" b="1" dirty="0">
                <a:solidFill>
                  <a:schemeClr val="accent5"/>
                </a:solidFill>
              </a:endParaRPr>
            </a:p>
          </p:txBody>
        </p:sp>
        <p:sp>
          <p:nvSpPr>
            <p:cNvPr id="81" name="Rounded Rectangle 80"/>
            <p:cNvSpPr/>
            <p:nvPr/>
          </p:nvSpPr>
          <p:spPr>
            <a:xfrm>
              <a:off x="705024" y="3833344"/>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Virtualization</a:t>
              </a:r>
              <a:endParaRPr lang="en-US" sz="1200" b="1" dirty="0">
                <a:solidFill>
                  <a:schemeClr val="accent5"/>
                </a:solidFill>
              </a:endParaRPr>
            </a:p>
          </p:txBody>
        </p:sp>
        <p:sp>
          <p:nvSpPr>
            <p:cNvPr id="82" name="Rounded Rectangle 81"/>
            <p:cNvSpPr/>
            <p:nvPr/>
          </p:nvSpPr>
          <p:spPr>
            <a:xfrm>
              <a:off x="705024" y="4325536"/>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Storage</a:t>
              </a:r>
              <a:endParaRPr lang="en-US" sz="1200" b="1" dirty="0">
                <a:solidFill>
                  <a:schemeClr val="accent5"/>
                </a:solidFill>
              </a:endParaRPr>
            </a:p>
          </p:txBody>
        </p:sp>
        <p:sp>
          <p:nvSpPr>
            <p:cNvPr id="83" name="Rounded Rectangle 82"/>
            <p:cNvSpPr/>
            <p:nvPr/>
          </p:nvSpPr>
          <p:spPr>
            <a:xfrm>
              <a:off x="705024" y="4817728"/>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Server Hardware</a:t>
              </a:r>
            </a:p>
          </p:txBody>
        </p:sp>
        <p:sp>
          <p:nvSpPr>
            <p:cNvPr id="84" name="Rounded Rectangle 83"/>
            <p:cNvSpPr/>
            <p:nvPr/>
          </p:nvSpPr>
          <p:spPr>
            <a:xfrm>
              <a:off x="705024" y="5309919"/>
              <a:ext cx="1440036" cy="477048"/>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accent5"/>
                  </a:solidFill>
                </a:rPr>
                <a:t>Networking, Utilities, Physical</a:t>
              </a:r>
            </a:p>
          </p:txBody>
        </p:sp>
        <p:sp>
          <p:nvSpPr>
            <p:cNvPr id="85" name="Rounded Rectangle 84"/>
            <p:cNvSpPr/>
            <p:nvPr/>
          </p:nvSpPr>
          <p:spPr>
            <a:xfrm>
              <a:off x="705024" y="948342"/>
              <a:ext cx="1440036" cy="408898"/>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white"/>
                  </a:solidFill>
                </a:rPr>
                <a:t>Traditional</a:t>
              </a:r>
              <a:endParaRPr lang="en-US" sz="1200" b="1" dirty="0">
                <a:solidFill>
                  <a:prstClr val="white"/>
                </a:solidFill>
              </a:endParaRPr>
            </a:p>
            <a:p>
              <a:pPr algn="ctr"/>
              <a:r>
                <a:rPr lang="en-US" sz="1000" b="1" dirty="0">
                  <a:solidFill>
                    <a:prstClr val="white"/>
                  </a:solidFill>
                </a:rPr>
                <a:t>(</a:t>
              </a:r>
              <a:r>
                <a:rPr lang="en-US" sz="1000" b="1" dirty="0" smtClean="0">
                  <a:solidFill>
                    <a:prstClr val="white"/>
                  </a:solidFill>
                </a:rPr>
                <a:t>On-Premises)</a:t>
              </a:r>
              <a:endParaRPr lang="en-US" sz="1000" b="1" dirty="0">
                <a:solidFill>
                  <a:prstClr val="white"/>
                </a:solidFill>
              </a:endParaRPr>
            </a:p>
          </p:txBody>
        </p:sp>
        <p:grpSp>
          <p:nvGrpSpPr>
            <p:cNvPr id="86" name="Group 85"/>
            <p:cNvGrpSpPr/>
            <p:nvPr/>
          </p:nvGrpSpPr>
          <p:grpSpPr>
            <a:xfrm>
              <a:off x="3041185" y="948342"/>
              <a:ext cx="1440036" cy="4838625"/>
              <a:chOff x="3041185" y="1104979"/>
              <a:chExt cx="1440036" cy="4838625"/>
            </a:xfrm>
          </p:grpSpPr>
          <p:sp>
            <p:nvSpPr>
              <p:cNvPr id="125" name="Rounded Rectangle 124"/>
              <p:cNvSpPr/>
              <p:nvPr/>
            </p:nvSpPr>
            <p:spPr>
              <a:xfrm>
                <a:off x="3041185" y="1513877"/>
                <a:ext cx="1440036" cy="477048"/>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Applications</a:t>
                </a:r>
              </a:p>
            </p:txBody>
          </p:sp>
          <p:sp>
            <p:nvSpPr>
              <p:cNvPr id="126" name="Rounded Rectangle 125"/>
              <p:cNvSpPr/>
              <p:nvPr/>
            </p:nvSpPr>
            <p:spPr>
              <a:xfrm>
                <a:off x="3041185" y="2007962"/>
                <a:ext cx="1440036" cy="477048"/>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evelopment &amp; Runtime Kernels</a:t>
                </a:r>
              </a:p>
            </p:txBody>
          </p:sp>
          <p:sp>
            <p:nvSpPr>
              <p:cNvPr id="127" name="Rounded Rectangle 126"/>
              <p:cNvSpPr/>
              <p:nvPr/>
            </p:nvSpPr>
            <p:spPr>
              <a:xfrm>
                <a:off x="3041185" y="2502046"/>
                <a:ext cx="1440036" cy="477048"/>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atabases</a:t>
                </a:r>
              </a:p>
            </p:txBody>
          </p:sp>
          <p:sp>
            <p:nvSpPr>
              <p:cNvPr id="128" name="Rounded Rectangle 127"/>
              <p:cNvSpPr/>
              <p:nvPr/>
            </p:nvSpPr>
            <p:spPr>
              <a:xfrm>
                <a:off x="3041185" y="2996131"/>
                <a:ext cx="1440036" cy="477048"/>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accent5"/>
                    </a:solidFill>
                  </a:rPr>
                  <a:t>Security, Management, Load Balancing &amp; Integration</a:t>
                </a:r>
              </a:p>
            </p:txBody>
          </p:sp>
          <p:sp>
            <p:nvSpPr>
              <p:cNvPr id="129" name="Rounded Rectangle 128"/>
              <p:cNvSpPr/>
              <p:nvPr/>
            </p:nvSpPr>
            <p:spPr>
              <a:xfrm>
                <a:off x="3041185" y="3490217"/>
                <a:ext cx="1440036" cy="477048"/>
              </a:xfrm>
              <a:prstGeom prst="roundRect">
                <a:avLst/>
              </a:prstGeom>
              <a:solidFill>
                <a:schemeClr val="accent2">
                  <a:lumMod val="40000"/>
                  <a:lumOff val="60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b="1" dirty="0" smtClean="0">
                    <a:solidFill>
                      <a:schemeClr val="accent5"/>
                    </a:solidFill>
                  </a:rPr>
                  <a:t>Operating System</a:t>
                </a:r>
                <a:endParaRPr lang="en-US" sz="1050" b="1" dirty="0">
                  <a:solidFill>
                    <a:schemeClr val="accent5"/>
                  </a:solidFill>
                </a:endParaRPr>
              </a:p>
            </p:txBody>
          </p:sp>
          <p:sp>
            <p:nvSpPr>
              <p:cNvPr id="130" name="Rounded Rectangle 129"/>
              <p:cNvSpPr/>
              <p:nvPr/>
            </p:nvSpPr>
            <p:spPr>
              <a:xfrm>
                <a:off x="3041185" y="3984302"/>
                <a:ext cx="1440036" cy="477048"/>
              </a:xfrm>
              <a:prstGeom prst="round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solidFill>
                      <a:schemeClr val="accent5"/>
                    </a:solidFill>
                  </a:rPr>
                  <a:t>Virtualization</a:t>
                </a:r>
                <a:endParaRPr lang="en-US" sz="1200" b="1" dirty="0">
                  <a:solidFill>
                    <a:schemeClr val="accent5"/>
                  </a:solidFill>
                </a:endParaRPr>
              </a:p>
            </p:txBody>
          </p:sp>
          <p:sp>
            <p:nvSpPr>
              <p:cNvPr id="131" name="Rounded Rectangle 130"/>
              <p:cNvSpPr/>
              <p:nvPr/>
            </p:nvSpPr>
            <p:spPr>
              <a:xfrm>
                <a:off x="3041185" y="4478387"/>
                <a:ext cx="1440036" cy="477048"/>
              </a:xfrm>
              <a:prstGeom prst="round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smtClean="0">
                    <a:solidFill>
                      <a:schemeClr val="accent5"/>
                    </a:solidFill>
                  </a:rPr>
                  <a:t>Storage</a:t>
                </a:r>
                <a:endParaRPr lang="en-US" sz="1200" b="1" dirty="0">
                  <a:solidFill>
                    <a:schemeClr val="accent5"/>
                  </a:solidFill>
                </a:endParaRPr>
              </a:p>
            </p:txBody>
          </p:sp>
          <p:sp>
            <p:nvSpPr>
              <p:cNvPr id="132" name="Rounded Rectangle 131"/>
              <p:cNvSpPr/>
              <p:nvPr/>
            </p:nvSpPr>
            <p:spPr>
              <a:xfrm>
                <a:off x="3041185" y="4972471"/>
                <a:ext cx="1440036" cy="477048"/>
              </a:xfrm>
              <a:prstGeom prst="round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solidFill>
                      <a:schemeClr val="accent5"/>
                    </a:solidFill>
                  </a:rPr>
                  <a:t>Server Hardware</a:t>
                </a:r>
              </a:p>
            </p:txBody>
          </p:sp>
          <p:sp>
            <p:nvSpPr>
              <p:cNvPr id="133" name="Rounded Rectangle 132"/>
              <p:cNvSpPr/>
              <p:nvPr/>
            </p:nvSpPr>
            <p:spPr>
              <a:xfrm>
                <a:off x="3041185" y="5466556"/>
                <a:ext cx="1440036" cy="477048"/>
              </a:xfrm>
              <a:prstGeom prst="round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00" b="1" dirty="0">
                    <a:solidFill>
                      <a:schemeClr val="accent5"/>
                    </a:solidFill>
                  </a:rPr>
                  <a:t>Networking, Utilities, Physical</a:t>
                </a:r>
              </a:p>
            </p:txBody>
          </p:sp>
          <p:sp>
            <p:nvSpPr>
              <p:cNvPr id="134" name="Rounded Rectangle 133"/>
              <p:cNvSpPr/>
              <p:nvPr/>
            </p:nvSpPr>
            <p:spPr>
              <a:xfrm>
                <a:off x="3041185" y="1104979"/>
                <a:ext cx="1440036" cy="408898"/>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bg1"/>
                    </a:solidFill>
                  </a:rPr>
                  <a:t>Infrastructure</a:t>
                </a:r>
                <a:r>
                  <a:rPr lang="en-US" sz="1200" b="1" dirty="0">
                    <a:solidFill>
                      <a:schemeClr val="bg1"/>
                    </a:solidFill>
                  </a:rPr>
                  <a:t> </a:t>
                </a:r>
                <a:r>
                  <a:rPr lang="en-US" sz="1100" b="1" dirty="0" smtClean="0">
                    <a:solidFill>
                      <a:schemeClr val="bg1"/>
                    </a:solidFill>
                  </a:rPr>
                  <a:t>as </a:t>
                </a:r>
                <a:r>
                  <a:rPr lang="en-US" sz="1100" b="1" dirty="0">
                    <a:solidFill>
                      <a:schemeClr val="bg1"/>
                    </a:solidFill>
                  </a:rPr>
                  <a:t>a Service (IaaS)</a:t>
                </a:r>
              </a:p>
            </p:txBody>
          </p:sp>
        </p:grpSp>
        <p:grpSp>
          <p:nvGrpSpPr>
            <p:cNvPr id="87" name="Group 86"/>
            <p:cNvGrpSpPr/>
            <p:nvPr/>
          </p:nvGrpSpPr>
          <p:grpSpPr>
            <a:xfrm>
              <a:off x="5196792" y="948342"/>
              <a:ext cx="1440036" cy="4906774"/>
              <a:chOff x="5381245" y="1036830"/>
              <a:chExt cx="1440036" cy="4906774"/>
            </a:xfrm>
          </p:grpSpPr>
          <p:sp>
            <p:nvSpPr>
              <p:cNvPr id="115" name="Rounded Rectangle 114"/>
              <p:cNvSpPr/>
              <p:nvPr/>
            </p:nvSpPr>
            <p:spPr>
              <a:xfrm>
                <a:off x="5381245" y="1513877"/>
                <a:ext cx="1440036" cy="477048"/>
              </a:xfrm>
              <a:prstGeom prst="roundRect">
                <a:avLst/>
              </a:prstGeom>
              <a:solidFill>
                <a:schemeClr val="accent2"/>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Applications</a:t>
                </a:r>
              </a:p>
            </p:txBody>
          </p:sp>
          <p:sp>
            <p:nvSpPr>
              <p:cNvPr id="116" name="Rounded Rectangle 115"/>
              <p:cNvSpPr/>
              <p:nvPr/>
            </p:nvSpPr>
            <p:spPr>
              <a:xfrm>
                <a:off x="5381245" y="2007962"/>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evelopment &amp; Runtime Kernels</a:t>
                </a:r>
              </a:p>
            </p:txBody>
          </p:sp>
          <p:sp>
            <p:nvSpPr>
              <p:cNvPr id="117" name="Rounded Rectangle 116"/>
              <p:cNvSpPr/>
              <p:nvPr/>
            </p:nvSpPr>
            <p:spPr>
              <a:xfrm>
                <a:off x="5381245" y="2502046"/>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atabases</a:t>
                </a:r>
              </a:p>
            </p:txBody>
          </p:sp>
          <p:sp>
            <p:nvSpPr>
              <p:cNvPr id="118" name="Rounded Rectangle 117"/>
              <p:cNvSpPr/>
              <p:nvPr/>
            </p:nvSpPr>
            <p:spPr>
              <a:xfrm>
                <a:off x="5381245" y="2996131"/>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accent5"/>
                    </a:solidFill>
                  </a:rPr>
                  <a:t>Security, Management, Load Balancing &amp; Integration</a:t>
                </a:r>
              </a:p>
            </p:txBody>
          </p:sp>
          <p:sp>
            <p:nvSpPr>
              <p:cNvPr id="119" name="Rounded Rectangle 118"/>
              <p:cNvSpPr/>
              <p:nvPr/>
            </p:nvSpPr>
            <p:spPr>
              <a:xfrm>
                <a:off x="5381245" y="3490217"/>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Operating System</a:t>
                </a:r>
                <a:endParaRPr lang="en-US" sz="1050" b="1" dirty="0">
                  <a:solidFill>
                    <a:schemeClr val="accent5"/>
                  </a:solidFill>
                </a:endParaRPr>
              </a:p>
            </p:txBody>
          </p:sp>
          <p:sp>
            <p:nvSpPr>
              <p:cNvPr id="120" name="Rounded Rectangle 119"/>
              <p:cNvSpPr/>
              <p:nvPr/>
            </p:nvSpPr>
            <p:spPr>
              <a:xfrm>
                <a:off x="5381245" y="3984302"/>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Virtualization</a:t>
                </a:r>
                <a:endParaRPr lang="en-US" sz="1200" b="1" dirty="0">
                  <a:solidFill>
                    <a:schemeClr val="accent5"/>
                  </a:solidFill>
                </a:endParaRPr>
              </a:p>
            </p:txBody>
          </p:sp>
          <p:sp>
            <p:nvSpPr>
              <p:cNvPr id="121" name="Rounded Rectangle 120"/>
              <p:cNvSpPr/>
              <p:nvPr/>
            </p:nvSpPr>
            <p:spPr>
              <a:xfrm>
                <a:off x="5381245" y="4478387"/>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Storage</a:t>
                </a:r>
                <a:endParaRPr lang="en-US" sz="1200" b="1" dirty="0">
                  <a:solidFill>
                    <a:schemeClr val="accent5"/>
                  </a:solidFill>
                </a:endParaRPr>
              </a:p>
            </p:txBody>
          </p:sp>
          <p:sp>
            <p:nvSpPr>
              <p:cNvPr id="122" name="Rounded Rectangle 121"/>
              <p:cNvSpPr/>
              <p:nvPr/>
            </p:nvSpPr>
            <p:spPr>
              <a:xfrm>
                <a:off x="5381245" y="4972471"/>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Server Hardware</a:t>
                </a:r>
              </a:p>
            </p:txBody>
          </p:sp>
          <p:sp>
            <p:nvSpPr>
              <p:cNvPr id="123" name="Rounded Rectangle 122"/>
              <p:cNvSpPr/>
              <p:nvPr/>
            </p:nvSpPr>
            <p:spPr>
              <a:xfrm>
                <a:off x="5381245" y="5466556"/>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accent5"/>
                    </a:solidFill>
                  </a:rPr>
                  <a:t>Networking, Utilities, Physical</a:t>
                </a:r>
              </a:p>
            </p:txBody>
          </p:sp>
          <p:sp>
            <p:nvSpPr>
              <p:cNvPr id="124" name="Rounded Rectangle 123"/>
              <p:cNvSpPr/>
              <p:nvPr/>
            </p:nvSpPr>
            <p:spPr>
              <a:xfrm>
                <a:off x="5381245" y="1036830"/>
                <a:ext cx="1440036" cy="477048"/>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Platform as a Service (PaaS)</a:t>
                </a:r>
              </a:p>
            </p:txBody>
          </p:sp>
        </p:grpSp>
        <p:sp>
          <p:nvSpPr>
            <p:cNvPr id="88" name="Left Brace 87"/>
            <p:cNvSpPr/>
            <p:nvPr/>
          </p:nvSpPr>
          <p:spPr>
            <a:xfrm>
              <a:off x="411866" y="1357241"/>
              <a:ext cx="293158" cy="4429726"/>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89" name="Rectangle 88"/>
            <p:cNvSpPr/>
            <p:nvPr/>
          </p:nvSpPr>
          <p:spPr>
            <a:xfrm rot="16200000">
              <a:off x="-337787" y="3533753"/>
              <a:ext cx="1288621" cy="307777"/>
            </a:xfrm>
            <a:prstGeom prst="rect">
              <a:avLst/>
            </a:prstGeom>
          </p:spPr>
          <p:txBody>
            <a:bodyPr wrap="none">
              <a:spAutoFit/>
            </a:bodyPr>
            <a:lstStyle/>
            <a:p>
              <a:pPr algn="ctr"/>
              <a:r>
                <a:rPr lang="en-US" sz="1400" b="1" spc="50" dirty="0">
                  <a:ln w="11430"/>
                  <a:solidFill>
                    <a:schemeClr val="accent5"/>
                  </a:solidFill>
                </a:rPr>
                <a:t>You Manage</a:t>
              </a:r>
            </a:p>
          </p:txBody>
        </p:sp>
        <p:sp>
          <p:nvSpPr>
            <p:cNvPr id="90" name="Left Brace 89"/>
            <p:cNvSpPr/>
            <p:nvPr/>
          </p:nvSpPr>
          <p:spPr>
            <a:xfrm>
              <a:off x="2750530" y="3431600"/>
              <a:ext cx="300008" cy="2355367"/>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91" name="Rectangle 90"/>
            <p:cNvSpPr/>
            <p:nvPr/>
          </p:nvSpPr>
          <p:spPr>
            <a:xfrm rot="16200000">
              <a:off x="1959123" y="2322106"/>
              <a:ext cx="1288621" cy="307777"/>
            </a:xfrm>
            <a:prstGeom prst="rect">
              <a:avLst/>
            </a:prstGeom>
          </p:spPr>
          <p:txBody>
            <a:bodyPr wrap="none">
              <a:spAutoFit/>
            </a:bodyPr>
            <a:lstStyle/>
            <a:p>
              <a:pPr algn="ctr"/>
              <a:r>
                <a:rPr lang="en-US" sz="1400" b="1" spc="50" dirty="0">
                  <a:ln w="11430"/>
                  <a:solidFill>
                    <a:schemeClr val="accent5"/>
                  </a:solidFill>
                </a:rPr>
                <a:t>You Manage</a:t>
              </a:r>
            </a:p>
          </p:txBody>
        </p:sp>
        <p:sp>
          <p:nvSpPr>
            <p:cNvPr id="92" name="Rectangle 91"/>
            <p:cNvSpPr/>
            <p:nvPr/>
          </p:nvSpPr>
          <p:spPr>
            <a:xfrm rot="16200000">
              <a:off x="4147131" y="1572459"/>
              <a:ext cx="1288621" cy="307777"/>
            </a:xfrm>
            <a:prstGeom prst="rect">
              <a:avLst/>
            </a:prstGeom>
          </p:spPr>
          <p:txBody>
            <a:bodyPr wrap="none">
              <a:spAutoFit/>
            </a:bodyPr>
            <a:lstStyle/>
            <a:p>
              <a:pPr algn="ctr"/>
              <a:r>
                <a:rPr lang="en-US" sz="1400" b="1" spc="50" dirty="0">
                  <a:ln w="11430"/>
                  <a:solidFill>
                    <a:schemeClr val="accent5"/>
                  </a:solidFill>
                </a:rPr>
                <a:t>You Manage</a:t>
              </a:r>
            </a:p>
          </p:txBody>
        </p:sp>
        <p:sp>
          <p:nvSpPr>
            <p:cNvPr id="93" name="Left Brace 92"/>
            <p:cNvSpPr/>
            <p:nvPr/>
          </p:nvSpPr>
          <p:spPr>
            <a:xfrm>
              <a:off x="2750530" y="1357240"/>
              <a:ext cx="290655" cy="2044489"/>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94" name="Rectangle 93"/>
            <p:cNvSpPr/>
            <p:nvPr/>
          </p:nvSpPr>
          <p:spPr>
            <a:xfrm rot="16200000">
              <a:off x="1595093" y="4590264"/>
              <a:ext cx="1982979" cy="307777"/>
            </a:xfrm>
            <a:prstGeom prst="rect">
              <a:avLst/>
            </a:prstGeom>
          </p:spPr>
          <p:txBody>
            <a:bodyPr wrap="none">
              <a:spAutoFit/>
            </a:bodyPr>
            <a:lstStyle/>
            <a:p>
              <a:pPr algn="ctr"/>
              <a:r>
                <a:rPr lang="en-US" sz="1400" b="1" spc="50" dirty="0">
                  <a:ln w="11430"/>
                  <a:solidFill>
                    <a:schemeClr val="accent5"/>
                  </a:solidFill>
                </a:rPr>
                <a:t>Managed by Vendor</a:t>
              </a:r>
            </a:p>
          </p:txBody>
        </p:sp>
        <p:sp>
          <p:nvSpPr>
            <p:cNvPr id="95" name="Left Brace 94"/>
            <p:cNvSpPr/>
            <p:nvPr/>
          </p:nvSpPr>
          <p:spPr>
            <a:xfrm>
              <a:off x="4896785" y="1425389"/>
              <a:ext cx="300008" cy="494085"/>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96" name="Left Brace 95"/>
            <p:cNvSpPr/>
            <p:nvPr/>
          </p:nvSpPr>
          <p:spPr>
            <a:xfrm>
              <a:off x="4896785" y="1970586"/>
              <a:ext cx="300008" cy="3884530"/>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97" name="Rectangle 96"/>
            <p:cNvSpPr/>
            <p:nvPr/>
          </p:nvSpPr>
          <p:spPr>
            <a:xfrm rot="16200000">
              <a:off x="3782649" y="3881761"/>
              <a:ext cx="1982979" cy="307777"/>
            </a:xfrm>
            <a:prstGeom prst="rect">
              <a:avLst/>
            </a:prstGeom>
          </p:spPr>
          <p:txBody>
            <a:bodyPr wrap="none">
              <a:spAutoFit/>
            </a:bodyPr>
            <a:lstStyle/>
            <a:p>
              <a:pPr algn="ctr"/>
              <a:r>
                <a:rPr lang="en-US" sz="1400" b="1" spc="50" dirty="0">
                  <a:ln w="11430"/>
                  <a:solidFill>
                    <a:schemeClr val="accent5"/>
                  </a:solidFill>
                </a:rPr>
                <a:t>Managed by Vendor</a:t>
              </a:r>
            </a:p>
          </p:txBody>
        </p:sp>
        <p:grpSp>
          <p:nvGrpSpPr>
            <p:cNvPr id="98" name="Group 49"/>
            <p:cNvGrpSpPr/>
            <p:nvPr/>
          </p:nvGrpSpPr>
          <p:grpSpPr>
            <a:xfrm>
              <a:off x="7177944" y="938514"/>
              <a:ext cx="1440036" cy="4906774"/>
              <a:chOff x="5381245" y="1036830"/>
              <a:chExt cx="1440036" cy="4906774"/>
            </a:xfrm>
          </p:grpSpPr>
          <p:sp>
            <p:nvSpPr>
              <p:cNvPr id="105" name="Rounded Rectangle 104"/>
              <p:cNvSpPr/>
              <p:nvPr/>
            </p:nvSpPr>
            <p:spPr>
              <a:xfrm>
                <a:off x="5381245" y="1513877"/>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Applications</a:t>
                </a:r>
              </a:p>
            </p:txBody>
          </p:sp>
          <p:sp>
            <p:nvSpPr>
              <p:cNvPr id="106" name="Rounded Rectangle 105"/>
              <p:cNvSpPr/>
              <p:nvPr/>
            </p:nvSpPr>
            <p:spPr>
              <a:xfrm>
                <a:off x="5381245" y="2007962"/>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evelopment &amp; Runtime Kernels</a:t>
                </a:r>
              </a:p>
            </p:txBody>
          </p:sp>
          <p:sp>
            <p:nvSpPr>
              <p:cNvPr id="107" name="Rounded Rectangle 106"/>
              <p:cNvSpPr/>
              <p:nvPr/>
            </p:nvSpPr>
            <p:spPr>
              <a:xfrm>
                <a:off x="5381245" y="2502046"/>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Databases</a:t>
                </a:r>
                <a:endParaRPr lang="en-US" sz="1200" b="1" dirty="0">
                  <a:solidFill>
                    <a:schemeClr val="accent5"/>
                  </a:solidFill>
                </a:endParaRPr>
              </a:p>
            </p:txBody>
          </p:sp>
          <p:sp>
            <p:nvSpPr>
              <p:cNvPr id="108" name="Rounded Rectangle 107"/>
              <p:cNvSpPr/>
              <p:nvPr/>
            </p:nvSpPr>
            <p:spPr>
              <a:xfrm>
                <a:off x="5381245" y="2996131"/>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accent5"/>
                    </a:solidFill>
                  </a:rPr>
                  <a:t>Security, Management, Load Balancing &amp; Integration</a:t>
                </a:r>
              </a:p>
            </p:txBody>
          </p:sp>
          <p:sp>
            <p:nvSpPr>
              <p:cNvPr id="109" name="Rounded Rectangle 108"/>
              <p:cNvSpPr/>
              <p:nvPr/>
            </p:nvSpPr>
            <p:spPr>
              <a:xfrm>
                <a:off x="5381245" y="3490217"/>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Operating System</a:t>
                </a:r>
                <a:endParaRPr lang="en-US" sz="1050" b="1" dirty="0">
                  <a:solidFill>
                    <a:schemeClr val="accent5"/>
                  </a:solidFill>
                </a:endParaRPr>
              </a:p>
            </p:txBody>
          </p:sp>
          <p:sp>
            <p:nvSpPr>
              <p:cNvPr id="110" name="Rounded Rectangle 109"/>
              <p:cNvSpPr/>
              <p:nvPr/>
            </p:nvSpPr>
            <p:spPr>
              <a:xfrm>
                <a:off x="5381245" y="3984302"/>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Virtualization</a:t>
                </a:r>
                <a:endParaRPr lang="en-US" sz="1200" b="1" dirty="0">
                  <a:solidFill>
                    <a:schemeClr val="accent5"/>
                  </a:solidFill>
                </a:endParaRPr>
              </a:p>
            </p:txBody>
          </p:sp>
          <p:sp>
            <p:nvSpPr>
              <p:cNvPr id="111" name="Rounded Rectangle 110"/>
              <p:cNvSpPr/>
              <p:nvPr/>
            </p:nvSpPr>
            <p:spPr>
              <a:xfrm>
                <a:off x="5381245" y="4478387"/>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accent5"/>
                    </a:solidFill>
                  </a:rPr>
                  <a:t>Storage</a:t>
                </a:r>
                <a:endParaRPr lang="en-US" sz="1200" b="1" dirty="0">
                  <a:solidFill>
                    <a:schemeClr val="accent5"/>
                  </a:solidFill>
                </a:endParaRPr>
              </a:p>
            </p:txBody>
          </p:sp>
          <p:sp>
            <p:nvSpPr>
              <p:cNvPr id="112" name="Rounded Rectangle 111"/>
              <p:cNvSpPr/>
              <p:nvPr/>
            </p:nvSpPr>
            <p:spPr>
              <a:xfrm>
                <a:off x="5381245" y="4972471"/>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accent5"/>
                    </a:solidFill>
                  </a:rPr>
                  <a:t>Server Hardware</a:t>
                </a:r>
              </a:p>
            </p:txBody>
          </p:sp>
          <p:sp>
            <p:nvSpPr>
              <p:cNvPr id="113" name="Rounded Rectangle 112"/>
              <p:cNvSpPr/>
              <p:nvPr/>
            </p:nvSpPr>
            <p:spPr>
              <a:xfrm>
                <a:off x="5381245" y="5466556"/>
                <a:ext cx="1440036" cy="47704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accent5"/>
                    </a:solidFill>
                  </a:rPr>
                  <a:t>Networking, Utilities, Physical</a:t>
                </a:r>
              </a:p>
            </p:txBody>
          </p:sp>
          <p:sp>
            <p:nvSpPr>
              <p:cNvPr id="114" name="Rounded Rectangle 113"/>
              <p:cNvSpPr/>
              <p:nvPr/>
            </p:nvSpPr>
            <p:spPr>
              <a:xfrm>
                <a:off x="5381245" y="1036830"/>
                <a:ext cx="1440036" cy="477048"/>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bg1"/>
                    </a:solidFill>
                  </a:rPr>
                  <a:t>Software as </a:t>
                </a:r>
                <a:r>
                  <a:rPr lang="en-US" sz="1100" b="1" dirty="0">
                    <a:solidFill>
                      <a:schemeClr val="bg1"/>
                    </a:solidFill>
                  </a:rPr>
                  <a:t>a Service </a:t>
                </a:r>
                <a:r>
                  <a:rPr lang="en-US" sz="1100" b="1" dirty="0" smtClean="0">
                    <a:solidFill>
                      <a:schemeClr val="bg1"/>
                    </a:solidFill>
                  </a:rPr>
                  <a:t>(SaaS</a:t>
                </a:r>
                <a:r>
                  <a:rPr lang="en-US" sz="1100" b="1" dirty="0">
                    <a:solidFill>
                      <a:schemeClr val="bg1"/>
                    </a:solidFill>
                  </a:rPr>
                  <a:t>)</a:t>
                </a:r>
              </a:p>
            </p:txBody>
          </p:sp>
        </p:grpSp>
        <p:sp>
          <p:nvSpPr>
            <p:cNvPr id="99" name="Left Brace 98"/>
            <p:cNvSpPr/>
            <p:nvPr/>
          </p:nvSpPr>
          <p:spPr>
            <a:xfrm>
              <a:off x="6872748" y="1519086"/>
              <a:ext cx="305197" cy="4326202"/>
            </a:xfrm>
            <a:prstGeom prst="leftBrace">
              <a:avLst/>
            </a:prstGeom>
          </p:spPr>
          <p:style>
            <a:lnRef idx="2">
              <a:schemeClr val="dk1"/>
            </a:lnRef>
            <a:fillRef idx="0">
              <a:schemeClr val="dk1"/>
            </a:fillRef>
            <a:effectRef idx="1">
              <a:schemeClr val="dk1"/>
            </a:effectRef>
            <a:fontRef idx="minor">
              <a:schemeClr val="tx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endParaRPr lang="en-US" sz="1600" b="1" spc="50" dirty="0">
                <a:ln w="11430"/>
                <a:gradFill>
                  <a:gsLst>
                    <a:gs pos="25000">
                      <a:srgbClr val="16A5D9">
                        <a:satMod val="155000"/>
                      </a:srgbClr>
                    </a:gs>
                    <a:gs pos="100000">
                      <a:srgbClr val="16A5D9">
                        <a:shade val="45000"/>
                        <a:satMod val="165000"/>
                      </a:srgbClr>
                    </a:gs>
                  </a:gsLst>
                  <a:lin ang="5400000"/>
                </a:gradFill>
                <a:effectLst>
                  <a:outerShdw blurRad="76200" dist="50800" dir="5400000" algn="tl" rotWithShape="0">
                    <a:srgbClr val="000000">
                      <a:alpha val="65000"/>
                    </a:srgbClr>
                  </a:outerShdw>
                </a:effectLst>
              </a:endParaRPr>
            </a:p>
          </p:txBody>
        </p:sp>
        <p:sp>
          <p:nvSpPr>
            <p:cNvPr id="100" name="Rectangle 99"/>
            <p:cNvSpPr/>
            <p:nvPr/>
          </p:nvSpPr>
          <p:spPr>
            <a:xfrm rot="16200000">
              <a:off x="5763801" y="3517981"/>
              <a:ext cx="1982979" cy="307777"/>
            </a:xfrm>
            <a:prstGeom prst="rect">
              <a:avLst/>
            </a:prstGeom>
          </p:spPr>
          <p:txBody>
            <a:bodyPr wrap="none">
              <a:spAutoFit/>
            </a:bodyPr>
            <a:lstStyle/>
            <a:p>
              <a:pPr algn="ctr"/>
              <a:r>
                <a:rPr lang="en-US" sz="1400" b="1" spc="50" dirty="0">
                  <a:ln w="11430"/>
                  <a:solidFill>
                    <a:schemeClr val="accent5"/>
                  </a:solidFill>
                </a:rPr>
                <a:t>Managed by Vendor</a:t>
              </a:r>
            </a:p>
          </p:txBody>
        </p:sp>
        <p:grpSp>
          <p:nvGrpSpPr>
            <p:cNvPr id="101" name="Group 68"/>
            <p:cNvGrpSpPr/>
            <p:nvPr/>
          </p:nvGrpSpPr>
          <p:grpSpPr>
            <a:xfrm>
              <a:off x="206477" y="6046837"/>
              <a:ext cx="8716297" cy="501446"/>
              <a:chOff x="206477" y="5987844"/>
              <a:chExt cx="8716297" cy="648928"/>
            </a:xfrm>
          </p:grpSpPr>
          <p:sp>
            <p:nvSpPr>
              <p:cNvPr id="102" name="Left-Right Arrow 101"/>
              <p:cNvSpPr/>
              <p:nvPr/>
            </p:nvSpPr>
            <p:spPr>
              <a:xfrm>
                <a:off x="206477" y="5987844"/>
                <a:ext cx="8716297" cy="648928"/>
              </a:xfrm>
              <a:prstGeom prst="leftRightArrow">
                <a:avLst/>
              </a:prstGeom>
              <a:solidFill>
                <a:schemeClr val="bg1">
                  <a:lumMod val="50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TextBox 102"/>
              <p:cNvSpPr txBox="1"/>
              <p:nvPr/>
            </p:nvSpPr>
            <p:spPr>
              <a:xfrm>
                <a:off x="589937" y="6152988"/>
                <a:ext cx="1195520" cy="318638"/>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fontAlgn="base">
                  <a:buClr>
                    <a:schemeClr val="tx2"/>
                  </a:buClr>
                </a:pPr>
                <a:r>
                  <a:rPr lang="en-US" sz="1600" b="1" dirty="0" smtClean="0">
                    <a:solidFill>
                      <a:srgbClr val="C00000"/>
                    </a:solidFill>
                    <a:latin typeface="Calibri" pitchFamily="34" charset="0"/>
                    <a:cs typeface="Calibri" pitchFamily="34" charset="0"/>
                  </a:rPr>
                  <a:t>Control + Cost</a:t>
                </a:r>
              </a:p>
            </p:txBody>
          </p:sp>
          <p:sp>
            <p:nvSpPr>
              <p:cNvPr id="104" name="TextBox 103"/>
              <p:cNvSpPr txBox="1"/>
              <p:nvPr/>
            </p:nvSpPr>
            <p:spPr>
              <a:xfrm>
                <a:off x="6730188" y="6152988"/>
                <a:ext cx="1637884" cy="318638"/>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fontAlgn="base">
                  <a:buClr>
                    <a:schemeClr val="tx2"/>
                  </a:buClr>
                </a:pPr>
                <a:r>
                  <a:rPr lang="en-US" sz="1600" b="1" dirty="0" smtClean="0">
                    <a:solidFill>
                      <a:srgbClr val="C00000"/>
                    </a:solidFill>
                    <a:latin typeface="Calibri" pitchFamily="34" charset="0"/>
                    <a:cs typeface="Calibri" pitchFamily="34" charset="0"/>
                  </a:rPr>
                  <a:t>Efficiency + Savings</a:t>
                </a:r>
              </a:p>
            </p:txBody>
          </p:sp>
        </p:grpSp>
      </p:grpSp>
    </p:spTree>
    <p:extLst>
      <p:ext uri="{BB962C8B-B14F-4D97-AF65-F5344CB8AC3E}">
        <p14:creationId xmlns:p14="http://schemas.microsoft.com/office/powerpoint/2010/main" val="2551924191"/>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Placeholder 4"/>
          <p:cNvGraphicFramePr>
            <a:graphicFrameLocks noGrp="1"/>
          </p:cNvGraphicFramePr>
          <p:nvPr>
            <p:ph type="chart" sz="half" idx="2"/>
            <p:extLst>
              <p:ext uri="{D42A27DB-BD31-4B8C-83A1-F6EECF244321}">
                <p14:modId xmlns:p14="http://schemas.microsoft.com/office/powerpoint/2010/main" val="4043964917"/>
              </p:ext>
            </p:extLst>
          </p:nvPr>
        </p:nvGraphicFramePr>
        <p:xfrm>
          <a:off x="548640" y="914400"/>
          <a:ext cx="7726680" cy="5090158"/>
        </p:xfrm>
        <a:graphic>
          <a:graphicData uri="http://schemas.openxmlformats.org/drawingml/2006/table">
            <a:tbl>
              <a:tblPr/>
              <a:tblGrid>
                <a:gridCol w="2207623"/>
                <a:gridCol w="2556171"/>
                <a:gridCol w="1182502"/>
                <a:gridCol w="1780384"/>
              </a:tblGrid>
              <a:tr h="598903">
                <a:tc>
                  <a:txBody>
                    <a:bodyPr/>
                    <a:lstStyle/>
                    <a:p>
                      <a:pPr algn="ctr"/>
                      <a:r>
                        <a:rPr lang="en-US" sz="1600" b="1" dirty="0"/>
                        <a:t>Name</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600" b="1" dirty="0"/>
                        <a:t>Runtimes</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600" b="1" dirty="0"/>
                        <a:t>Scaling</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600" b="1" dirty="0" smtClean="0"/>
                        <a:t>Geo Locations</a:t>
                      </a:r>
                      <a:endParaRPr lang="en-US" sz="1600" b="1" dirty="0"/>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60000"/>
                        <a:lumOff val="40000"/>
                      </a:schemeClr>
                    </a:solidFill>
                  </a:tcPr>
                </a:tc>
              </a:tr>
              <a:tr h="524653">
                <a:tc>
                  <a:txBody>
                    <a:bodyPr/>
                    <a:lstStyle/>
                    <a:p>
                      <a:pPr algn="ctr"/>
                      <a:r>
                        <a:rPr lang="en-US" sz="1600" b="1" u="none" dirty="0"/>
                        <a:t>Amazon Elastic </a:t>
                      </a:r>
                      <a:r>
                        <a:rPr lang="en-US" sz="1600" b="1" u="none" dirty="0" smtClean="0"/>
                        <a:t>Beanstalk</a:t>
                      </a:r>
                      <a:endParaRPr lang="en-US" sz="1600" b="1" u="none" dirty="0"/>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dirty="0"/>
                        <a:t>dotnet </a:t>
                      </a:r>
                      <a:r>
                        <a:rPr lang="en-US" sz="1400" dirty="0" smtClean="0"/>
                        <a:t>,go, java, php ,python </a:t>
                      </a:r>
                      <a:r>
                        <a:rPr lang="en-US" sz="1400" dirty="0"/>
                        <a:t>ruby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pt-BR" sz="1400" dirty="0"/>
                        <a:t>AS EU NA OC SA </a:t>
                      </a:r>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r>
              <a:tr h="435794">
                <a:tc>
                  <a:txBody>
                    <a:bodyPr/>
                    <a:lstStyle/>
                    <a:p>
                      <a:pPr algn="ctr"/>
                      <a:r>
                        <a:rPr lang="en-US" sz="1600" b="1" u="none" dirty="0" smtClean="0"/>
                        <a:t>Apprenda</a:t>
                      </a:r>
                      <a:r>
                        <a:rPr lang="en-US" sz="1600" b="1" u="none" dirty="0"/>
                        <a:t>  </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en-US" sz="1400" dirty="0" smtClean="0"/>
                        <a:t>Docker, dotnet, </a:t>
                      </a:r>
                      <a:r>
                        <a:rPr lang="en-US" sz="1400" dirty="0"/>
                        <a:t>java extensible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140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endParaRPr lang="en-US" sz="1400" dirty="0"/>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524653">
                <a:tc>
                  <a:txBody>
                    <a:bodyPr/>
                    <a:lstStyle/>
                    <a:p>
                      <a:pPr algn="ctr"/>
                      <a:r>
                        <a:rPr lang="en-US" sz="1600" b="1" u="none" dirty="0" smtClean="0"/>
                        <a:t>Bluemix</a:t>
                      </a:r>
                      <a:endParaRPr lang="en-US" sz="1600" b="1" u="none" dirty="0"/>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dirty="0"/>
                        <a:t>go java node php python ruby extensible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dirty="0"/>
                        <a:t>EU NA </a:t>
                      </a:r>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r>
              <a:tr h="524653">
                <a:tc>
                  <a:txBody>
                    <a:bodyPr/>
                    <a:lstStyle/>
                    <a:p>
                      <a:pPr algn="ctr"/>
                      <a:r>
                        <a:rPr lang="en-US" sz="1600" b="1" u="none" dirty="0"/>
                        <a:t>Cloud </a:t>
                      </a:r>
                      <a:r>
                        <a:rPr lang="en-US" sz="1600" b="1" u="none" dirty="0" smtClean="0"/>
                        <a:t>Foundry</a:t>
                      </a:r>
                      <a:endParaRPr lang="en-US" sz="1600" b="1" u="none" dirty="0"/>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en-US" sz="1400" dirty="0"/>
                        <a:t>go groovy java node php python </a:t>
                      </a:r>
                      <a:r>
                        <a:rPr lang="en-US" sz="1400" dirty="0" smtClean="0"/>
                        <a:t>ruby scala extensible </a:t>
                      </a:r>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140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endParaRPr lang="en-US" sz="1400" dirty="0"/>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433618">
                <a:tc>
                  <a:txBody>
                    <a:bodyPr/>
                    <a:lstStyle/>
                    <a:p>
                      <a:pPr algn="ctr"/>
                      <a:r>
                        <a:rPr lang="en-US" sz="1600" b="1" u="none" dirty="0"/>
                        <a:t>Force.com </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a:t>apex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400" dirty="0"/>
                        <a:t>AS EU NA </a:t>
                      </a:r>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r>
              <a:tr h="473925">
                <a:tc>
                  <a:txBody>
                    <a:bodyPr/>
                    <a:lstStyle/>
                    <a:p>
                      <a:pPr algn="ctr"/>
                      <a:r>
                        <a:rPr lang="en-US" sz="1600" b="1" u="none" dirty="0"/>
                        <a:t>Google App Engine </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en-US" sz="1400" dirty="0"/>
                        <a:t>go java php python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400" dirty="0"/>
                        <a:t>EU NA </a:t>
                      </a:r>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524653">
                <a:tc>
                  <a:txBody>
                    <a:bodyPr/>
                    <a:lstStyle/>
                    <a:p>
                      <a:pPr algn="ctr"/>
                      <a:r>
                        <a:rPr lang="en-US" sz="1600" b="1" u="none" dirty="0"/>
                        <a:t>Microsoft Azure </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dirty="0"/>
                        <a:t>dotnet java node php python ruby extensible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pt-BR" sz="1400" dirty="0"/>
                        <a:t>AS EU NA OC SA </a:t>
                      </a:r>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4">
                        <a:lumMod val="20000"/>
                        <a:lumOff val="80000"/>
                      </a:schemeClr>
                    </a:solidFill>
                  </a:tcPr>
                </a:tc>
              </a:tr>
              <a:tr h="524653">
                <a:tc>
                  <a:txBody>
                    <a:bodyPr/>
                    <a:lstStyle/>
                    <a:p>
                      <a:pPr algn="ctr"/>
                      <a:r>
                        <a:rPr lang="en-US" sz="1600" b="1" u="none" dirty="0"/>
                        <a:t>OpenShift </a:t>
                      </a:r>
                      <a:r>
                        <a:rPr lang="en-US" sz="1600" b="1" u="none" dirty="0" smtClean="0"/>
                        <a:t>Enterprise</a:t>
                      </a:r>
                      <a:r>
                        <a:rPr lang="en-US" sz="1600" b="1" u="none" dirty="0"/>
                        <a:t>  </a:t>
                      </a:r>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en-US" sz="1400" dirty="0"/>
                        <a:t>java node perl php python ruby extensible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140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endParaRPr lang="en-US" sz="1400" dirty="0"/>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524653">
                <a:tc>
                  <a:txBody>
                    <a:bodyPr/>
                    <a:lstStyle/>
                    <a:p>
                      <a:pPr algn="ctr"/>
                      <a:r>
                        <a:rPr lang="en-US" sz="1600" b="1" u="none" dirty="0"/>
                        <a:t>Pivotal </a:t>
                      </a:r>
                      <a:r>
                        <a:rPr lang="en-US" sz="1600" b="1" u="none" dirty="0" smtClean="0"/>
                        <a:t>CF</a:t>
                      </a:r>
                      <a:endParaRPr lang="en-US" sz="1600" b="1" u="none" dirty="0"/>
                    </a:p>
                  </a:txBody>
                  <a:tcPr marL="4026" marR="4026" marT="2013" marB="201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dirty="0"/>
                        <a:t>go groovy java node php python ruby scala extensible </a:t>
                      </a:r>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400" dirty="0"/>
                    </a:p>
                  </a:txBody>
                  <a:tcPr marL="4026" marR="4026" marT="2013" marB="201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endParaRPr lang="en-US" sz="1400" dirty="0"/>
                    </a:p>
                  </a:txBody>
                  <a:tcPr marL="4026" marR="4026" marT="2013" marB="201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bl>
          </a:graphicData>
        </a:graphic>
      </p:graphicFrame>
      <p:pic>
        <p:nvPicPr>
          <p:cNvPr id="7169"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239" y="1608608"/>
            <a:ext cx="609601" cy="357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1413" y="2057400"/>
            <a:ext cx="623944"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0656" y="2514600"/>
            <a:ext cx="649941"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3390" y="3121856"/>
            <a:ext cx="591536" cy="307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0720" y="3605970"/>
            <a:ext cx="563880" cy="310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75960" y="4095751"/>
            <a:ext cx="533400" cy="300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3559" y="4528382"/>
            <a:ext cx="620357" cy="36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1213" y="5059680"/>
            <a:ext cx="587187" cy="344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5696" y="5608320"/>
            <a:ext cx="597944" cy="350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5455" y="6193154"/>
            <a:ext cx="796180" cy="466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385560" y="6217920"/>
            <a:ext cx="2484120"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100" b="1" i="1" dirty="0" smtClean="0">
                <a:latin typeface="+mj-lt"/>
              </a:rPr>
              <a:t>Vertical, Horizontal &amp; Auto of one or both directions</a:t>
            </a:r>
          </a:p>
        </p:txBody>
      </p:sp>
      <p:sp>
        <p:nvSpPr>
          <p:cNvPr id="9" name="TextBox 8"/>
          <p:cNvSpPr txBox="1"/>
          <p:nvPr/>
        </p:nvSpPr>
        <p:spPr>
          <a:xfrm>
            <a:off x="579120" y="6309360"/>
            <a:ext cx="4937760"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100" b="1" i="1" dirty="0" smtClean="0">
                <a:latin typeface="+mj-lt"/>
              </a:rPr>
              <a:t>AS- Asia, EU – Europe, NA / SA – North / South America, OC - Oceania</a:t>
            </a:r>
          </a:p>
        </p:txBody>
      </p:sp>
      <p:sp>
        <p:nvSpPr>
          <p:cNvPr id="16" name="Title 3"/>
          <p:cNvSpPr>
            <a:spLocks noGrp="1"/>
          </p:cNvSpPr>
          <p:nvPr>
            <p:ph type="title"/>
          </p:nvPr>
        </p:nvSpPr>
        <p:spPr>
          <a:xfrm>
            <a:off x="587692" y="330835"/>
            <a:ext cx="8226425" cy="492443"/>
          </a:xfrm>
        </p:spPr>
        <p:txBody>
          <a:bodyPr/>
          <a:lstStyle/>
          <a:p>
            <a:pPr>
              <a:defRPr/>
            </a:pPr>
            <a:r>
              <a:rPr lang="en-IN" dirty="0" smtClean="0">
                <a:solidFill>
                  <a:srgbClr val="6D6E71"/>
                </a:solidFill>
                <a:cs typeface="+mj-cs"/>
              </a:rPr>
              <a:t>PaaS Runtime Comparison</a:t>
            </a:r>
            <a:endParaRPr lang="en-IN" dirty="0">
              <a:solidFill>
                <a:srgbClr val="6D6E71"/>
              </a:solidFill>
              <a:cs typeface="+mj-cs"/>
            </a:endParaRPr>
          </a:p>
        </p:txBody>
      </p:sp>
    </p:spTree>
    <p:extLst>
      <p:ext uri="{BB962C8B-B14F-4D97-AF65-F5344CB8AC3E}">
        <p14:creationId xmlns:p14="http://schemas.microsoft.com/office/powerpoint/2010/main" val="32728233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85153"/>
            <a:ext cx="7529945"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IN" sz="3200" dirty="0">
                <a:solidFill>
                  <a:srgbClr val="6D6E71"/>
                </a:solidFill>
              </a:rPr>
              <a:t>Cloud Deployment Models</a:t>
            </a:r>
          </a:p>
        </p:txBody>
      </p:sp>
      <p:graphicFrame>
        <p:nvGraphicFramePr>
          <p:cNvPr id="3" name="Diagram 2"/>
          <p:cNvGraphicFramePr/>
          <p:nvPr>
            <p:extLst>
              <p:ext uri="{D42A27DB-BD31-4B8C-83A1-F6EECF244321}">
                <p14:modId xmlns:p14="http://schemas.microsoft.com/office/powerpoint/2010/main" val="1462399893"/>
              </p:ext>
            </p:extLst>
          </p:nvPr>
        </p:nvGraphicFramePr>
        <p:xfrm>
          <a:off x="798787" y="1302406"/>
          <a:ext cx="7667296" cy="5035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79892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86270" y="2280833"/>
            <a:ext cx="5511800" cy="1231106"/>
          </a:xfrm>
        </p:spPr>
        <p:txBody>
          <a:bodyPr/>
          <a:lstStyle/>
          <a:p>
            <a:pPr algn="ctr"/>
            <a:r>
              <a:rPr lang="en-US" dirty="0" smtClean="0"/>
              <a:t>Cloud Adoption Trends</a:t>
            </a:r>
            <a:endParaRPr lang="en-US" dirty="0"/>
          </a:p>
        </p:txBody>
      </p:sp>
    </p:spTree>
    <p:extLst>
      <p:ext uri="{BB962C8B-B14F-4D97-AF65-F5344CB8AC3E}">
        <p14:creationId xmlns:p14="http://schemas.microsoft.com/office/powerpoint/2010/main" val="54983134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loud Computing Trends 2016 Cloud Adoption"/>
          <p:cNvPicPr>
            <a:picLocks noChangeAspect="1" noChangeArrowheads="1"/>
          </p:cNvPicPr>
          <p:nvPr/>
        </p:nvPicPr>
        <p:blipFill rotWithShape="1">
          <a:blip r:embed="rId2">
            <a:extLst>
              <a:ext uri="{28A0092B-C50C-407E-A947-70E740481C1C}">
                <a14:useLocalDpi xmlns:a14="http://schemas.microsoft.com/office/drawing/2010/main" val="0"/>
              </a:ext>
            </a:extLst>
          </a:blip>
          <a:srcRect l="12025" r="4802"/>
          <a:stretch/>
        </p:blipFill>
        <p:spPr bwMode="auto">
          <a:xfrm>
            <a:off x="792480" y="1189355"/>
            <a:ext cx="3794760" cy="23920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loud Computing Trends 2016 Enterprise VMs Use"/>
          <p:cNvPicPr>
            <a:picLocks noChangeAspect="1" noChangeArrowheads="1"/>
          </p:cNvPicPr>
          <p:nvPr/>
        </p:nvPicPr>
        <p:blipFill rotWithShape="1">
          <a:blip r:embed="rId3">
            <a:extLst>
              <a:ext uri="{28A0092B-C50C-407E-A947-70E740481C1C}">
                <a14:useLocalDpi xmlns:a14="http://schemas.microsoft.com/office/drawing/2010/main" val="0"/>
              </a:ext>
            </a:extLst>
          </a:blip>
          <a:srcRect l="12177" r="4686"/>
          <a:stretch/>
        </p:blipFill>
        <p:spPr bwMode="auto">
          <a:xfrm>
            <a:off x="4952999" y="1203960"/>
            <a:ext cx="3621803" cy="237744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77240" y="6061055"/>
            <a:ext cx="7726680" cy="646331"/>
          </a:xfrm>
          <a:prstGeom prst="rect">
            <a:avLst/>
          </a:prstGeom>
        </p:spPr>
        <p:txBody>
          <a:bodyPr wrap="square">
            <a:spAutoFit/>
          </a:bodyPr>
          <a:lstStyle/>
          <a:p>
            <a:r>
              <a:rPr lang="en-US" dirty="0" smtClean="0">
                <a:hlinkClick r:id="rId4"/>
              </a:rPr>
              <a:t>Rightscale Cloud Management Survey Report</a:t>
            </a:r>
            <a:endParaRPr lang="en-US" dirty="0" smtClean="0"/>
          </a:p>
          <a:p>
            <a:endParaRPr lang="en-US" dirty="0"/>
          </a:p>
        </p:txBody>
      </p:sp>
      <p:pic>
        <p:nvPicPr>
          <p:cNvPr id="1032" name="Picture 8" descr="Cloud Computing Trends 2016 DevOps Adopti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5960" y="3840480"/>
            <a:ext cx="4626043" cy="217424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a:xfrm>
            <a:off x="612450" y="500801"/>
            <a:ext cx="7798407" cy="631839"/>
          </a:xfrm>
          <a:prstGeom prst="rect">
            <a:avLst/>
          </a:prstGeom>
        </p:spPr>
        <p:txBody>
          <a:bodyPr/>
          <a:lstStyle>
            <a:defPPr>
              <a:defRPr lang="en-US"/>
            </a:defPPr>
            <a:lvl1pPr>
              <a:spcBef>
                <a:spcPct val="0"/>
              </a:spcBef>
              <a:buNone/>
              <a:defRPr sz="3200" b="1">
                <a:solidFill>
                  <a:srgbClr val="6D6E71"/>
                </a:solidFill>
                <a:latin typeface="Arial" pitchFamily="34" charset="0"/>
                <a:ea typeface="+mj-ea"/>
                <a:cs typeface="+mj-cs"/>
              </a:defRPr>
            </a:lvl1pPr>
          </a:lstStyle>
          <a:p>
            <a:r>
              <a:rPr lang="en-IN" dirty="0" smtClean="0"/>
              <a:t>Cloud Adoption Trends</a:t>
            </a:r>
            <a:endParaRPr lang="en-IN" dirty="0"/>
          </a:p>
        </p:txBody>
      </p:sp>
    </p:spTree>
    <p:extLst>
      <p:ext uri="{BB962C8B-B14F-4D97-AF65-F5344CB8AC3E}">
        <p14:creationId xmlns:p14="http://schemas.microsoft.com/office/powerpoint/2010/main" val="8914178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loud Computing Trends 2016 Public Cloud Adoption"/>
          <p:cNvPicPr>
            <a:picLocks noChangeAspect="1" noChangeArrowheads="1"/>
          </p:cNvPicPr>
          <p:nvPr/>
        </p:nvPicPr>
        <p:blipFill rotWithShape="1">
          <a:blip r:embed="rId2">
            <a:extLst>
              <a:ext uri="{28A0092B-C50C-407E-A947-70E740481C1C}">
                <a14:useLocalDpi xmlns:a14="http://schemas.microsoft.com/office/drawing/2010/main" val="0"/>
              </a:ext>
            </a:extLst>
          </a:blip>
          <a:srcRect l="3199" t="4027" r="20001" b="6373"/>
          <a:stretch/>
        </p:blipFill>
        <p:spPr bwMode="auto">
          <a:xfrm>
            <a:off x="259080" y="1036320"/>
            <a:ext cx="4953000" cy="30327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loud Computing Trends 2016 Private Cloud Adoption"/>
          <p:cNvPicPr>
            <a:picLocks noChangeAspect="1" noChangeArrowheads="1"/>
          </p:cNvPicPr>
          <p:nvPr/>
        </p:nvPicPr>
        <p:blipFill rotWithShape="1">
          <a:blip r:embed="rId3">
            <a:extLst>
              <a:ext uri="{28A0092B-C50C-407E-A947-70E740481C1C}">
                <a14:useLocalDpi xmlns:a14="http://schemas.microsoft.com/office/drawing/2010/main" val="0"/>
              </a:ext>
            </a:extLst>
          </a:blip>
          <a:srcRect l="4671" r="6404"/>
          <a:stretch/>
        </p:blipFill>
        <p:spPr bwMode="auto">
          <a:xfrm>
            <a:off x="3581400" y="3581400"/>
            <a:ext cx="5303520" cy="302006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054410" y="272201"/>
            <a:ext cx="7798407" cy="631839"/>
          </a:xfrm>
          <a:prstGeom prst="rect">
            <a:avLst/>
          </a:prstGeom>
        </p:spPr>
        <p:txBody>
          <a:bodyPr/>
          <a:lstStyle>
            <a:defPPr>
              <a:defRPr lang="en-US"/>
            </a:defPPr>
            <a:lvl1pPr>
              <a:spcBef>
                <a:spcPct val="0"/>
              </a:spcBef>
              <a:buNone/>
              <a:defRPr sz="3200" b="1">
                <a:solidFill>
                  <a:srgbClr val="6D6E71"/>
                </a:solidFill>
                <a:latin typeface="Arial" pitchFamily="34" charset="0"/>
                <a:ea typeface="+mj-ea"/>
                <a:cs typeface="+mj-cs"/>
              </a:defRPr>
            </a:lvl1pPr>
          </a:lstStyle>
          <a:p>
            <a:r>
              <a:rPr lang="en-IN" dirty="0" smtClean="0"/>
              <a:t>Cloud Adoption Trends</a:t>
            </a:r>
            <a:endParaRPr lang="en-IN" dirty="0"/>
          </a:p>
        </p:txBody>
      </p:sp>
    </p:spTree>
    <p:extLst>
      <p:ext uri="{BB962C8B-B14F-4D97-AF65-F5344CB8AC3E}">
        <p14:creationId xmlns:p14="http://schemas.microsoft.com/office/powerpoint/2010/main" val="42510890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502955"/>
            <a:ext cx="8989255" cy="631839"/>
          </a:xfrm>
          <a:prstGeom prst="rect">
            <a:avLst/>
          </a:prstGeom>
        </p:spPr>
        <p:txBody>
          <a:bodyPr/>
          <a:lstStyle>
            <a:lvl1pPr algn="l" defTabSz="914400" rtl="0" eaLnBrk="1" latinLnBrk="0" hangingPunct="1">
              <a:spcBef>
                <a:spcPct val="0"/>
              </a:spcBef>
              <a:buNone/>
              <a:defRPr lang="en-US" sz="3200" b="1" kern="1200" dirty="0" smtClean="0">
                <a:solidFill>
                  <a:schemeClr val="tx2"/>
                </a:solidFill>
                <a:latin typeface="Arial" pitchFamily="34" charset="0"/>
                <a:ea typeface="+mj-ea"/>
                <a:cs typeface="Arial" pitchFamily="34" charset="0"/>
              </a:defRPr>
            </a:lvl1pPr>
          </a:lstStyle>
          <a:p>
            <a:pPr algn="ctr"/>
            <a:r>
              <a:rPr lang="en-IN" dirty="0">
                <a:solidFill>
                  <a:srgbClr val="6D6E71"/>
                </a:solidFill>
                <a:cs typeface="+mj-cs"/>
              </a:rPr>
              <a:t>Challenges in Cloud Adoption </a:t>
            </a:r>
          </a:p>
        </p:txBody>
      </p:sp>
      <p:pic>
        <p:nvPicPr>
          <p:cNvPr id="5" name="Picture 6" descr="Cloud Computing Trends 2016 Cloud Challeng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8256" y="1325880"/>
            <a:ext cx="8261902" cy="5120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8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9160" y="2279176"/>
            <a:ext cx="7452359" cy="67710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rgbClr val="6D6E71"/>
              </a:buClr>
            </a:pPr>
            <a:r>
              <a:rPr lang="en-US" sz="4400" b="1" dirty="0" smtClean="0">
                <a:solidFill>
                  <a:srgbClr val="FF0000"/>
                </a:solidFill>
              </a:rPr>
              <a:t>SDN and NFV</a:t>
            </a:r>
            <a:endParaRPr lang="en-US" b="1" dirty="0" smtClean="0">
              <a:solidFill>
                <a:srgbClr val="FF0000"/>
              </a:solidFill>
            </a:endParaRPr>
          </a:p>
        </p:txBody>
      </p:sp>
    </p:spTree>
    <p:extLst>
      <p:ext uri="{BB962C8B-B14F-4D97-AF65-F5344CB8AC3E}">
        <p14:creationId xmlns:p14="http://schemas.microsoft.com/office/powerpoint/2010/main" val="38664908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FV and SDN</a:t>
            </a:r>
            <a:endParaRPr lang="en-US" dirty="0"/>
          </a:p>
        </p:txBody>
      </p:sp>
      <p:sp>
        <p:nvSpPr>
          <p:cNvPr id="6" name="Text Placeholder 5"/>
          <p:cNvSpPr>
            <a:spLocks noGrp="1"/>
          </p:cNvSpPr>
          <p:nvPr>
            <p:ph type="body" sz="quarter" idx="10"/>
          </p:nvPr>
        </p:nvSpPr>
        <p:spPr>
          <a:xfrm>
            <a:off x="481012" y="1387475"/>
            <a:ext cx="8224838" cy="553998"/>
          </a:xfrm>
        </p:spPr>
        <p:txBody>
          <a:bodyPr/>
          <a:lstStyle/>
          <a:p>
            <a:r>
              <a:rPr lang="en-US" dirty="0" smtClean="0"/>
              <a:t>NFV and SDN compliments each other but solves different problems in different environment across various domains.</a:t>
            </a:r>
            <a:endParaRPr lang="en-IN" dirty="0"/>
          </a:p>
        </p:txBody>
      </p:sp>
      <p:graphicFrame>
        <p:nvGraphicFramePr>
          <p:cNvPr id="7" name="Table 6"/>
          <p:cNvGraphicFramePr>
            <a:graphicFrameLocks noGrp="1"/>
          </p:cNvGraphicFramePr>
          <p:nvPr>
            <p:extLst>
              <p:ext uri="{D42A27DB-BD31-4B8C-83A1-F6EECF244321}">
                <p14:modId xmlns:p14="http://schemas.microsoft.com/office/powerpoint/2010/main" val="1840434452"/>
              </p:ext>
            </p:extLst>
          </p:nvPr>
        </p:nvGraphicFramePr>
        <p:xfrm>
          <a:off x="688180" y="2117367"/>
          <a:ext cx="7810500" cy="1756133"/>
        </p:xfrm>
        <a:graphic>
          <a:graphicData uri="http://schemas.openxmlformats.org/drawingml/2006/table">
            <a:tbl>
              <a:tblPr firstRow="1" bandRow="1">
                <a:tableStyleId>{5C22544A-7EE6-4342-B048-85BDC9FD1C3A}</a:tableStyleId>
              </a:tblPr>
              <a:tblGrid>
                <a:gridCol w="4158140"/>
                <a:gridCol w="3652360"/>
              </a:tblGrid>
              <a:tr h="359133">
                <a:tc>
                  <a:txBody>
                    <a:bodyPr/>
                    <a:lstStyle/>
                    <a:p>
                      <a:pPr algn="ctr"/>
                      <a:r>
                        <a:rPr lang="en-US" sz="1400" dirty="0" smtClean="0"/>
                        <a:t>NFV</a:t>
                      </a:r>
                      <a:endParaRPr lang="en-US" sz="1400" dirty="0"/>
                    </a:p>
                  </a:txBody>
                  <a:tcPr anchor="ctr"/>
                </a:tc>
                <a:tc>
                  <a:txBody>
                    <a:bodyPr/>
                    <a:lstStyle/>
                    <a:p>
                      <a:pPr algn="ctr"/>
                      <a:r>
                        <a:rPr lang="en-US" sz="1400" dirty="0" smtClean="0"/>
                        <a:t>SDN</a:t>
                      </a:r>
                      <a:endParaRPr lang="en-US" sz="1400" dirty="0"/>
                    </a:p>
                  </a:txBody>
                  <a:tcPr anchor="ctr"/>
                </a:tc>
              </a:tr>
              <a:tr h="698500">
                <a:tc>
                  <a:txBody>
                    <a:bodyPr/>
                    <a:lstStyle/>
                    <a:p>
                      <a:r>
                        <a:rPr lang="en-IN" sz="1200" dirty="0" smtClean="0"/>
                        <a:t>NFV aimed at accelerating service innovation and provisioning using</a:t>
                      </a:r>
                      <a:r>
                        <a:rPr lang="en-IN" sz="1200" baseline="0" dirty="0" smtClean="0"/>
                        <a:t> </a:t>
                      </a:r>
                      <a:r>
                        <a:rPr lang="en-IN" sz="1200" dirty="0" smtClean="0"/>
                        <a:t>standard IT virtualization technologies. </a:t>
                      </a:r>
                      <a:endParaRPr lang="en-US" sz="1200" dirty="0"/>
                    </a:p>
                  </a:txBody>
                  <a:tcPr anchor="ctr"/>
                </a:tc>
                <a:tc>
                  <a:txBody>
                    <a:bodyPr/>
                    <a:lstStyle/>
                    <a:p>
                      <a:r>
                        <a:rPr lang="en-IN" sz="1200" kern="1200" dirty="0" smtClean="0">
                          <a:solidFill>
                            <a:schemeClr val="dk1"/>
                          </a:solidFill>
                          <a:effectLst/>
                          <a:latin typeface="+mn-lt"/>
                          <a:ea typeface="+mn-ea"/>
                          <a:cs typeface="+mn-cs"/>
                        </a:rPr>
                        <a:t>SDN emerged to make network devices programmable and</a:t>
                      </a:r>
                      <a:r>
                        <a:rPr lang="en-IN" sz="1200" kern="1200" baseline="0" dirty="0" smtClean="0">
                          <a:solidFill>
                            <a:schemeClr val="dk1"/>
                          </a:solidFill>
                          <a:effectLst/>
                          <a:latin typeface="+mn-lt"/>
                          <a:ea typeface="+mn-ea"/>
                          <a:cs typeface="+mn-cs"/>
                        </a:rPr>
                        <a:t> </a:t>
                      </a:r>
                      <a:r>
                        <a:rPr lang="en-IN" sz="1200" kern="1200" dirty="0" smtClean="0">
                          <a:solidFill>
                            <a:schemeClr val="dk1"/>
                          </a:solidFill>
                          <a:effectLst/>
                          <a:latin typeface="+mn-lt"/>
                          <a:ea typeface="+mn-ea"/>
                          <a:cs typeface="+mn-cs"/>
                        </a:rPr>
                        <a:t>controllable from a central element. </a:t>
                      </a:r>
                    </a:p>
                  </a:txBody>
                  <a:tcPr anchor="ctr"/>
                </a:tc>
              </a:tr>
              <a:tr h="698500">
                <a:tc>
                  <a:txBody>
                    <a:bodyPr/>
                    <a:lstStyle/>
                    <a:p>
                      <a:r>
                        <a:rPr lang="en-IN" sz="1200" dirty="0" smtClean="0"/>
                        <a:t>NFV typically involves moving networking applications to virtual machines or</a:t>
                      </a:r>
                      <a:r>
                        <a:rPr lang="en-IN" sz="1200" baseline="0" dirty="0" smtClean="0"/>
                        <a:t> </a:t>
                      </a:r>
                      <a:r>
                        <a:rPr lang="en-IN" sz="1200" dirty="0" smtClean="0"/>
                        <a:t>containers that run on commodity</a:t>
                      </a:r>
                      <a:r>
                        <a:rPr lang="en-IN" sz="1200" baseline="0" dirty="0" smtClean="0"/>
                        <a:t> </a:t>
                      </a:r>
                      <a:r>
                        <a:rPr lang="en-IN" sz="1200" dirty="0" smtClean="0"/>
                        <a:t>hardware. </a:t>
                      </a:r>
                      <a:endParaRPr lang="en-US" sz="1200" dirty="0"/>
                    </a:p>
                  </a:txBody>
                  <a:tcPr anchor="ctr"/>
                </a:tc>
                <a:tc>
                  <a:txBody>
                    <a:bodyPr/>
                    <a:lstStyle/>
                    <a:p>
                      <a:r>
                        <a:rPr lang="en-IN" sz="1200" kern="1200" dirty="0" smtClean="0">
                          <a:solidFill>
                            <a:schemeClr val="dk1"/>
                          </a:solidFill>
                          <a:latin typeface="+mn-lt"/>
                          <a:ea typeface="+mn-ea"/>
                          <a:cs typeface="+mn-cs"/>
                        </a:rPr>
                        <a:t>SDN requires new interfaces, control </a:t>
                      </a:r>
                    </a:p>
                    <a:p>
                      <a:r>
                        <a:rPr lang="en-IN" sz="1200" kern="1200" dirty="0" smtClean="0">
                          <a:solidFill>
                            <a:schemeClr val="dk1"/>
                          </a:solidFill>
                          <a:latin typeface="+mn-lt"/>
                          <a:ea typeface="+mn-ea"/>
                          <a:cs typeface="+mn-cs"/>
                        </a:rPr>
                        <a:t>modules, and applications</a:t>
                      </a:r>
                    </a:p>
                  </a:txBody>
                  <a:tcPr anchor="ctr"/>
                </a:tc>
              </a:tr>
            </a:tbl>
          </a:graphicData>
        </a:graphic>
      </p:graphicFrame>
      <p:graphicFrame>
        <p:nvGraphicFramePr>
          <p:cNvPr id="17" name="Chart 16"/>
          <p:cNvGraphicFramePr/>
          <p:nvPr>
            <p:extLst>
              <p:ext uri="{D42A27DB-BD31-4B8C-83A1-F6EECF244321}">
                <p14:modId xmlns:p14="http://schemas.microsoft.com/office/powerpoint/2010/main" val="2038197838"/>
              </p:ext>
            </p:extLst>
          </p:nvPr>
        </p:nvGraphicFramePr>
        <p:xfrm>
          <a:off x="698500" y="4089400"/>
          <a:ext cx="4610100" cy="2222500"/>
        </p:xfrm>
        <a:graphic>
          <a:graphicData uri="http://schemas.openxmlformats.org/drawingml/2006/chart">
            <c:chart xmlns:c="http://schemas.openxmlformats.org/drawingml/2006/chart" xmlns:r="http://schemas.openxmlformats.org/officeDocument/2006/relationships" r:id="rId2"/>
          </a:graphicData>
        </a:graphic>
      </p:graphicFrame>
      <p:pic>
        <p:nvPicPr>
          <p:cNvPr id="18" name="Picture 17"/>
          <p:cNvPicPr>
            <a:picLocks noChangeAspect="1"/>
          </p:cNvPicPr>
          <p:nvPr/>
        </p:nvPicPr>
        <p:blipFill>
          <a:blip r:embed="rId3"/>
          <a:stretch>
            <a:fillRect/>
          </a:stretch>
        </p:blipFill>
        <p:spPr>
          <a:xfrm>
            <a:off x="5295899" y="4065587"/>
            <a:ext cx="3409950" cy="2271713"/>
          </a:xfrm>
          <a:prstGeom prst="rect">
            <a:avLst/>
          </a:prstGeom>
        </p:spPr>
      </p:pic>
      <p:sp>
        <p:nvSpPr>
          <p:cNvPr id="19" name="Rectangle 18"/>
          <p:cNvSpPr/>
          <p:nvPr/>
        </p:nvSpPr>
        <p:spPr>
          <a:xfrm>
            <a:off x="481012" y="6337300"/>
            <a:ext cx="5576888" cy="261610"/>
          </a:xfrm>
          <a:prstGeom prst="rect">
            <a:avLst/>
          </a:prstGeom>
        </p:spPr>
        <p:txBody>
          <a:bodyPr wrap="square">
            <a:spAutoFit/>
          </a:bodyPr>
          <a:lstStyle/>
          <a:p>
            <a:r>
              <a:rPr lang="en-IN" sz="1100" b="1" dirty="0">
                <a:solidFill>
                  <a:srgbClr val="FF0000"/>
                </a:solidFill>
                <a:latin typeface="Arial" panose="020B0604020202020204" pitchFamily="34" charset="0"/>
              </a:rPr>
              <a:t>$10.65 </a:t>
            </a:r>
            <a:r>
              <a:rPr lang="en-IN" sz="1100" b="1" dirty="0" smtClean="0">
                <a:solidFill>
                  <a:srgbClr val="FF0000"/>
                </a:solidFill>
                <a:latin typeface="Arial" panose="020B0604020202020204" pitchFamily="34" charset="0"/>
              </a:rPr>
              <a:t>billion growth </a:t>
            </a:r>
            <a:r>
              <a:rPr lang="en-IN" sz="1100" b="1" dirty="0">
                <a:solidFill>
                  <a:srgbClr val="FF0000"/>
                </a:solidFill>
                <a:latin typeface="Arial" panose="020B0604020202020204" pitchFamily="34" charset="0"/>
              </a:rPr>
              <a:t>in the </a:t>
            </a:r>
            <a:r>
              <a:rPr lang="en-IN" sz="1100" b="1" dirty="0" smtClean="0">
                <a:solidFill>
                  <a:srgbClr val="FF0000"/>
                </a:solidFill>
                <a:latin typeface="Arial" panose="020B0604020202020204" pitchFamily="34" charset="0"/>
              </a:rPr>
              <a:t>global </a:t>
            </a:r>
            <a:r>
              <a:rPr lang="en-IN" sz="1100" b="1" dirty="0">
                <a:solidFill>
                  <a:srgbClr val="FF0000"/>
                </a:solidFill>
                <a:latin typeface="Arial" panose="020B0604020202020204" pitchFamily="34" charset="0"/>
              </a:rPr>
              <a:t>NFV </a:t>
            </a:r>
            <a:r>
              <a:rPr lang="en-IN" sz="1100" b="1" dirty="0" smtClean="0">
                <a:solidFill>
                  <a:srgbClr val="FF0000"/>
                </a:solidFill>
                <a:latin typeface="Arial" panose="020B0604020202020204" pitchFamily="34" charset="0"/>
              </a:rPr>
              <a:t>hardware</a:t>
            </a:r>
            <a:r>
              <a:rPr lang="en-IN" sz="1100" b="1" dirty="0">
                <a:solidFill>
                  <a:srgbClr val="FF0000"/>
                </a:solidFill>
                <a:latin typeface="Arial" panose="020B0604020202020204" pitchFamily="34" charset="0"/>
              </a:rPr>
              <a:t>, </a:t>
            </a:r>
            <a:r>
              <a:rPr lang="en-IN" sz="1100" b="1" dirty="0" smtClean="0">
                <a:solidFill>
                  <a:srgbClr val="FF0000"/>
                </a:solidFill>
                <a:latin typeface="Arial" panose="020B0604020202020204" pitchFamily="34" charset="0"/>
              </a:rPr>
              <a:t>software </a:t>
            </a:r>
            <a:r>
              <a:rPr lang="en-IN" sz="1100" b="1" dirty="0">
                <a:solidFill>
                  <a:srgbClr val="FF0000"/>
                </a:solidFill>
                <a:latin typeface="Arial" panose="020B0604020202020204" pitchFamily="34" charset="0"/>
              </a:rPr>
              <a:t>and </a:t>
            </a:r>
            <a:r>
              <a:rPr lang="en-IN" sz="1100" b="1" dirty="0" smtClean="0">
                <a:solidFill>
                  <a:srgbClr val="FF0000"/>
                </a:solidFill>
                <a:latin typeface="Arial" panose="020B0604020202020204" pitchFamily="34" charset="0"/>
              </a:rPr>
              <a:t>services market</a:t>
            </a:r>
            <a:r>
              <a:rPr lang="en-IN" sz="1100" b="1" dirty="0">
                <a:solidFill>
                  <a:srgbClr val="FF0000"/>
                </a:solidFill>
                <a:latin typeface="Arial" panose="020B0604020202020204" pitchFamily="34" charset="0"/>
              </a:rPr>
              <a:t>.</a:t>
            </a:r>
            <a:endParaRPr lang="en-IN" sz="1100" b="1" dirty="0">
              <a:solidFill>
                <a:srgbClr val="FF0000"/>
              </a:solidFill>
              <a:effectLst/>
              <a:latin typeface="Arial" panose="020B0604020202020204" pitchFamily="34" charset="0"/>
            </a:endParaRPr>
          </a:p>
        </p:txBody>
      </p:sp>
    </p:spTree>
    <p:extLst>
      <p:ext uri="{BB962C8B-B14F-4D97-AF65-F5344CB8AC3E}">
        <p14:creationId xmlns:p14="http://schemas.microsoft.com/office/powerpoint/2010/main" val="14293158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smtClean="0"/>
              <a:t>NFV </a:t>
            </a:r>
          </a:p>
        </p:txBody>
      </p:sp>
      <p:sp>
        <p:nvSpPr>
          <p:cNvPr id="60419" name="Content Placeholder 2"/>
          <p:cNvSpPr>
            <a:spLocks noGrp="1"/>
          </p:cNvSpPr>
          <p:nvPr>
            <p:ph idx="1"/>
          </p:nvPr>
        </p:nvSpPr>
        <p:spPr>
          <a:xfrm>
            <a:off x="304800" y="1222693"/>
            <a:ext cx="8382000" cy="2862322"/>
          </a:xfrm>
        </p:spPr>
        <p:txBody>
          <a:bodyPr/>
          <a:lstStyle/>
          <a:p>
            <a:r>
              <a:rPr lang="en-US" altLang="en-US" sz="3200" b="1" dirty="0"/>
              <a:t>N</a:t>
            </a:r>
            <a:r>
              <a:rPr lang="en-US" altLang="en-US" b="1" dirty="0"/>
              <a:t>etwork</a:t>
            </a:r>
            <a:r>
              <a:rPr lang="en-US" altLang="en-US" sz="2400" b="1" dirty="0"/>
              <a:t> </a:t>
            </a:r>
            <a:r>
              <a:rPr lang="en-US" altLang="en-US" sz="3200" b="1" dirty="0"/>
              <a:t>F</a:t>
            </a:r>
            <a:r>
              <a:rPr lang="en-US" altLang="en-US" b="1" dirty="0"/>
              <a:t>unction</a:t>
            </a:r>
            <a:r>
              <a:rPr lang="en-US" altLang="en-US" sz="2400" b="1" dirty="0"/>
              <a:t> </a:t>
            </a:r>
            <a:r>
              <a:rPr lang="en-US" altLang="en-US" sz="3200" b="1" dirty="0" smtClean="0"/>
              <a:t>V</a:t>
            </a:r>
            <a:r>
              <a:rPr lang="en-US" altLang="en-US" b="1" dirty="0"/>
              <a:t>irtualization</a:t>
            </a:r>
            <a:r>
              <a:rPr lang="en-US" altLang="en-US" sz="2400" b="1" dirty="0" smtClean="0"/>
              <a:t> (NFV</a:t>
            </a:r>
            <a:r>
              <a:rPr lang="en-US" altLang="en-US" dirty="0" smtClean="0"/>
              <a:t>) is the virtualization of network functions by </a:t>
            </a:r>
            <a:r>
              <a:rPr lang="en-US" altLang="en-US" b="1" dirty="0" smtClean="0"/>
              <a:t>implementing these functions in software </a:t>
            </a:r>
            <a:r>
              <a:rPr lang="en-US" altLang="en-US" dirty="0" smtClean="0"/>
              <a:t>and running them on VMs. </a:t>
            </a:r>
          </a:p>
          <a:p>
            <a:endParaRPr lang="en-US" altLang="en-US" dirty="0" smtClean="0"/>
          </a:p>
          <a:p>
            <a:r>
              <a:rPr lang="en-US" altLang="en-US" dirty="0" smtClean="0"/>
              <a:t>NFV </a:t>
            </a:r>
            <a:r>
              <a:rPr lang="en-US" altLang="en-US" b="1" dirty="0" smtClean="0"/>
              <a:t>decouples network functions</a:t>
            </a:r>
            <a:r>
              <a:rPr lang="en-US" altLang="en-US" dirty="0" smtClean="0"/>
              <a:t>, such as Network Address Translation (NAT), firewalling, intrusion detection, Domain Name Service (DNS), and caching, </a:t>
            </a:r>
            <a:r>
              <a:rPr lang="en-US" altLang="en-US" b="1" dirty="0" smtClean="0"/>
              <a:t>from proprietary hardware appliances </a:t>
            </a:r>
            <a:r>
              <a:rPr lang="en-US" altLang="en-US" dirty="0" smtClean="0"/>
              <a:t>so that they can run in software on VMs. </a:t>
            </a:r>
          </a:p>
        </p:txBody>
      </p:sp>
    </p:spTree>
    <p:extLst>
      <p:ext uri="{BB962C8B-B14F-4D97-AF65-F5344CB8AC3E}">
        <p14:creationId xmlns:p14="http://schemas.microsoft.com/office/powerpoint/2010/main" val="1099422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3540" y="1083212"/>
            <a:ext cx="7252268" cy="4494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731975" y="5906195"/>
            <a:ext cx="3169465" cy="461665"/>
          </a:xfrm>
          <a:prstGeom prst="rect">
            <a:avLst/>
          </a:prstGeom>
        </p:spPr>
        <p:txBody>
          <a:bodyPr wrap="square">
            <a:spAutoFit/>
          </a:bodyPr>
          <a:lstStyle/>
          <a:p>
            <a:pPr algn="ctr"/>
            <a:r>
              <a:rPr lang="en-US" sz="2400" dirty="0" smtClean="0">
                <a:hlinkClick r:id="rId5"/>
              </a:rPr>
              <a:t>Selling Cloud Video</a:t>
            </a:r>
            <a:endParaRPr lang="en-US" sz="2400" dirty="0" smtClean="0"/>
          </a:p>
        </p:txBody>
      </p:sp>
      <p:pic>
        <p:nvPicPr>
          <p:cNvPr id="409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77639" y="5684509"/>
            <a:ext cx="1223963" cy="1173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796737" y="483584"/>
            <a:ext cx="6705600" cy="492443"/>
          </a:xfrm>
        </p:spPr>
        <p:txBody>
          <a:bodyPr/>
          <a:lstStyle/>
          <a:p>
            <a:r>
              <a:rPr lang="en-US" dirty="0">
                <a:solidFill>
                  <a:schemeClr val="tx1">
                    <a:lumMod val="50000"/>
                    <a:lumOff val="50000"/>
                  </a:schemeClr>
                </a:solidFill>
                <a:ea typeface="Calibri" pitchFamily="34" charset="0"/>
                <a:cs typeface="TT671o00"/>
              </a:rPr>
              <a:t>Cloud </a:t>
            </a:r>
            <a:r>
              <a:rPr lang="en-US" dirty="0" smtClean="0">
                <a:solidFill>
                  <a:schemeClr val="tx1">
                    <a:lumMod val="50000"/>
                    <a:lumOff val="50000"/>
                  </a:schemeClr>
                </a:solidFill>
                <a:ea typeface="Calibri" pitchFamily="34" charset="0"/>
                <a:cs typeface="TT671o00"/>
              </a:rPr>
              <a:t>computing</a:t>
            </a:r>
            <a:endParaRPr lang="en-US" dirty="0"/>
          </a:p>
        </p:txBody>
      </p:sp>
    </p:spTree>
    <p:extLst>
      <p:ext uri="{BB962C8B-B14F-4D97-AF65-F5344CB8AC3E}">
        <p14:creationId xmlns:p14="http://schemas.microsoft.com/office/powerpoint/2010/main" val="4001875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descr="Product Small Pho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5263" y="4484688"/>
            <a:ext cx="741362"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39" name="TextBox 7"/>
          <p:cNvSpPr txBox="1">
            <a:spLocks noChangeArrowheads="1"/>
          </p:cNvSpPr>
          <p:nvPr/>
        </p:nvSpPr>
        <p:spPr bwMode="auto">
          <a:xfrm>
            <a:off x="2771775" y="5203825"/>
            <a:ext cx="66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BRAS</a:t>
            </a:r>
          </a:p>
        </p:txBody>
      </p:sp>
      <p:sp>
        <p:nvSpPr>
          <p:cNvPr id="65540" name="TextBox 12"/>
          <p:cNvSpPr txBox="1">
            <a:spLocks noChangeArrowheads="1"/>
          </p:cNvSpPr>
          <p:nvPr/>
        </p:nvSpPr>
        <p:spPr bwMode="auto">
          <a:xfrm>
            <a:off x="1562100" y="3865563"/>
            <a:ext cx="795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Firewall</a:t>
            </a:r>
          </a:p>
        </p:txBody>
      </p:sp>
      <p:pic>
        <p:nvPicPr>
          <p:cNvPr id="65541" name="Picture 10" descr="http://www.checkpoint.com/images/products/appliances/graphics/main-320x215.jpg"/>
          <p:cNvPicPr>
            <a:picLocks noChangeAspect="1" noChangeArrowheads="1"/>
          </p:cNvPicPr>
          <p:nvPr/>
        </p:nvPicPr>
        <p:blipFill>
          <a:blip r:embed="rId4">
            <a:extLst>
              <a:ext uri="{28A0092B-C50C-407E-A947-70E740481C1C}">
                <a14:useLocalDpi xmlns:a14="http://schemas.microsoft.com/office/drawing/2010/main" val="0"/>
              </a:ext>
            </a:extLst>
          </a:blip>
          <a:srcRect l="56769" t="13052" r="4462"/>
          <a:stretch>
            <a:fillRect/>
          </a:stretch>
        </p:blipFill>
        <p:spPr bwMode="auto">
          <a:xfrm>
            <a:off x="1570038" y="3090863"/>
            <a:ext cx="690562"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42"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l="17577" t="40077" r="63269" b="42200"/>
          <a:stretch>
            <a:fillRect/>
          </a:stretch>
        </p:blipFill>
        <p:spPr bwMode="auto">
          <a:xfrm>
            <a:off x="338138" y="3400425"/>
            <a:ext cx="962025"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3" name="TextBox 16"/>
          <p:cNvSpPr txBox="1">
            <a:spLocks noChangeArrowheads="1"/>
          </p:cNvSpPr>
          <p:nvPr/>
        </p:nvSpPr>
        <p:spPr bwMode="auto">
          <a:xfrm>
            <a:off x="611188" y="3871913"/>
            <a:ext cx="4810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DPI</a:t>
            </a:r>
          </a:p>
        </p:txBody>
      </p:sp>
      <p:pic>
        <p:nvPicPr>
          <p:cNvPr id="65544" name="Picture 13" descr="http://di1.shopping.com/images1/pi/98/4d/f4/20219018-100x100-0-0.jpg"/>
          <p:cNvPicPr>
            <a:picLocks noChangeAspect="1" noChangeArrowheads="1"/>
          </p:cNvPicPr>
          <p:nvPr/>
        </p:nvPicPr>
        <p:blipFill>
          <a:blip r:embed="rId6">
            <a:extLst>
              <a:ext uri="{28A0092B-C50C-407E-A947-70E740481C1C}">
                <a14:useLocalDpi xmlns:a14="http://schemas.microsoft.com/office/drawing/2010/main" val="0"/>
              </a:ext>
            </a:extLst>
          </a:blip>
          <a:srcRect t="17110" b="18085"/>
          <a:stretch>
            <a:fillRect/>
          </a:stretch>
        </p:blipFill>
        <p:spPr bwMode="auto">
          <a:xfrm>
            <a:off x="1439863" y="2063750"/>
            <a:ext cx="1008062"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5" name="TextBox 19"/>
          <p:cNvSpPr txBox="1">
            <a:spLocks noChangeArrowheads="1"/>
          </p:cNvSpPr>
          <p:nvPr/>
        </p:nvSpPr>
        <p:spPr bwMode="auto">
          <a:xfrm>
            <a:off x="1547813" y="2603500"/>
            <a:ext cx="5699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CDN</a:t>
            </a:r>
          </a:p>
        </p:txBody>
      </p:sp>
      <p:pic>
        <p:nvPicPr>
          <p:cNvPr id="65546" name="Picture 6" descr="http://www.linuxfordevices.com/images/stories/spirent_testcenter_sm.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48150" y="3200400"/>
            <a:ext cx="7477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7" name="TextBox 24"/>
          <p:cNvSpPr txBox="1">
            <a:spLocks noChangeArrowheads="1"/>
          </p:cNvSpPr>
          <p:nvPr/>
        </p:nvSpPr>
        <p:spPr bwMode="auto">
          <a:xfrm>
            <a:off x="4064000" y="3879850"/>
            <a:ext cx="1079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Tester/QoE</a:t>
            </a:r>
          </a:p>
          <a:p>
            <a:pPr algn="ctr" eaLnBrk="1" hangingPunct="1">
              <a:lnSpc>
                <a:spcPct val="100000"/>
              </a:lnSpc>
              <a:spcBef>
                <a:spcPct val="0"/>
              </a:spcBef>
              <a:buClrTx/>
              <a:buFontTx/>
              <a:buNone/>
            </a:pPr>
            <a:r>
              <a:rPr lang="en-GB" altLang="en-US" sz="1400">
                <a:solidFill>
                  <a:srgbClr val="0070C0"/>
                </a:solidFill>
                <a:cs typeface="Arial" pitchFamily="34" charset="0"/>
              </a:rPr>
              <a:t>monitor</a:t>
            </a:r>
          </a:p>
        </p:txBody>
      </p:sp>
      <p:pic>
        <p:nvPicPr>
          <p:cNvPr id="65548" name="Picture 8" descr="http://us.teneo.net/Uploads/images/705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08438" y="2063750"/>
            <a:ext cx="936625"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9" name="TextBox 27"/>
          <p:cNvSpPr txBox="1">
            <a:spLocks noChangeArrowheads="1"/>
          </p:cNvSpPr>
          <p:nvPr/>
        </p:nvSpPr>
        <p:spPr bwMode="auto">
          <a:xfrm>
            <a:off x="3924300" y="2540000"/>
            <a:ext cx="11699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WAN</a:t>
            </a:r>
          </a:p>
          <a:p>
            <a:pPr algn="ctr" eaLnBrk="1" hangingPunct="1">
              <a:lnSpc>
                <a:spcPct val="100000"/>
              </a:lnSpc>
              <a:spcBef>
                <a:spcPct val="0"/>
              </a:spcBef>
              <a:buClrTx/>
              <a:buFontTx/>
              <a:buNone/>
            </a:pPr>
            <a:r>
              <a:rPr lang="en-GB" altLang="en-US" sz="1400">
                <a:solidFill>
                  <a:srgbClr val="0070C0"/>
                </a:solidFill>
                <a:cs typeface="Arial" pitchFamily="34" charset="0"/>
              </a:rPr>
              <a:t>Acceleration</a:t>
            </a:r>
          </a:p>
        </p:txBody>
      </p:sp>
      <p:pic>
        <p:nvPicPr>
          <p:cNvPr id="65550" name="Picture 10" descr="http://solacecdn.s3.amazonaws.com/new/wp-content/uploads/2010/02/3260_front_200p-wid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0363" y="1992313"/>
            <a:ext cx="841375"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1" name="TextBox 30"/>
          <p:cNvSpPr txBox="1">
            <a:spLocks noChangeArrowheads="1"/>
          </p:cNvSpPr>
          <p:nvPr/>
        </p:nvSpPr>
        <p:spPr bwMode="auto">
          <a:xfrm>
            <a:off x="358775" y="2568575"/>
            <a:ext cx="9112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Message</a:t>
            </a:r>
          </a:p>
          <a:p>
            <a:pPr algn="ctr" eaLnBrk="1" hangingPunct="1">
              <a:lnSpc>
                <a:spcPct val="100000"/>
              </a:lnSpc>
              <a:spcBef>
                <a:spcPct val="0"/>
              </a:spcBef>
              <a:buClrTx/>
              <a:buFontTx/>
              <a:buNone/>
            </a:pPr>
            <a:r>
              <a:rPr lang="en-GB" altLang="en-US" sz="1400">
                <a:solidFill>
                  <a:srgbClr val="0070C0"/>
                </a:solidFill>
                <a:cs typeface="Arial" pitchFamily="34" charset="0"/>
              </a:rPr>
              <a:t>Router</a:t>
            </a:r>
          </a:p>
        </p:txBody>
      </p:sp>
      <p:pic>
        <p:nvPicPr>
          <p:cNvPr id="65552" name="Picture 12" descr="http://www.nokiasiemensnetworks.com/sites/default/files/image_files/img_multicontroler.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86200" y="4376738"/>
            <a:ext cx="104616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3" name="TextBox 32"/>
          <p:cNvSpPr txBox="1">
            <a:spLocks noChangeArrowheads="1"/>
          </p:cNvSpPr>
          <p:nvPr/>
        </p:nvSpPr>
        <p:spPr bwMode="auto">
          <a:xfrm>
            <a:off x="3686175" y="5168900"/>
            <a:ext cx="1409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Radio Access</a:t>
            </a:r>
            <a:br>
              <a:rPr lang="en-GB" altLang="en-US" sz="1400">
                <a:solidFill>
                  <a:srgbClr val="0070C0"/>
                </a:solidFill>
                <a:cs typeface="Arial" pitchFamily="34" charset="0"/>
              </a:rPr>
            </a:br>
            <a:r>
              <a:rPr lang="en-GB" altLang="en-US" sz="1400">
                <a:solidFill>
                  <a:srgbClr val="0070C0"/>
                </a:solidFill>
                <a:cs typeface="Arial" pitchFamily="34" charset="0"/>
              </a:rPr>
              <a:t>Network Nodes</a:t>
            </a:r>
          </a:p>
        </p:txBody>
      </p:sp>
      <p:pic>
        <p:nvPicPr>
          <p:cNvPr id="65554" name="Picture 16" descr="http://farm5.static.flickr.com/4111/4949006335_e8a306f6c2.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30488" y="3152775"/>
            <a:ext cx="950912"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5" name="TextBox 38"/>
          <p:cNvSpPr txBox="1">
            <a:spLocks noChangeArrowheads="1"/>
          </p:cNvSpPr>
          <p:nvPr/>
        </p:nvSpPr>
        <p:spPr bwMode="auto">
          <a:xfrm>
            <a:off x="2613025" y="3844925"/>
            <a:ext cx="10763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Carrier</a:t>
            </a:r>
            <a:br>
              <a:rPr lang="en-GB" altLang="en-US" sz="1400">
                <a:solidFill>
                  <a:srgbClr val="0070C0"/>
                </a:solidFill>
                <a:cs typeface="Arial" pitchFamily="34" charset="0"/>
              </a:rPr>
            </a:br>
            <a:r>
              <a:rPr lang="en-GB" altLang="en-US" sz="1400">
                <a:solidFill>
                  <a:srgbClr val="0070C0"/>
                </a:solidFill>
                <a:cs typeface="Arial" pitchFamily="34" charset="0"/>
              </a:rPr>
              <a:t>Grade NAT</a:t>
            </a:r>
          </a:p>
        </p:txBody>
      </p:sp>
      <p:pic>
        <p:nvPicPr>
          <p:cNvPr id="65556" name="Picture 18" descr="http://partners.varphonex.com/images/acme_border_controller.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0338" y="1776413"/>
            <a:ext cx="928687"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7" name="TextBox 42"/>
          <p:cNvSpPr txBox="1">
            <a:spLocks noChangeArrowheads="1"/>
          </p:cNvSpPr>
          <p:nvPr/>
        </p:nvSpPr>
        <p:spPr bwMode="auto">
          <a:xfrm>
            <a:off x="2519363" y="2568575"/>
            <a:ext cx="1476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ession Border</a:t>
            </a:r>
          </a:p>
          <a:p>
            <a:pPr algn="ctr" eaLnBrk="1" hangingPunct="1">
              <a:lnSpc>
                <a:spcPct val="100000"/>
              </a:lnSpc>
              <a:spcBef>
                <a:spcPct val="0"/>
              </a:spcBef>
              <a:buClrTx/>
              <a:buFontTx/>
              <a:buNone/>
            </a:pPr>
            <a:r>
              <a:rPr lang="en-GB" altLang="en-US" sz="1400">
                <a:solidFill>
                  <a:srgbClr val="0070C0"/>
                </a:solidFill>
                <a:cs typeface="Arial" pitchFamily="34" charset="0"/>
              </a:rPr>
              <a:t>Controller</a:t>
            </a:r>
          </a:p>
        </p:txBody>
      </p:sp>
      <p:pic>
        <p:nvPicPr>
          <p:cNvPr id="65558" name="Picture 4" descr="Large Phot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03388" y="4376738"/>
            <a:ext cx="7334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9" name="TextBox 10"/>
          <p:cNvSpPr txBox="1">
            <a:spLocks noChangeArrowheads="1"/>
          </p:cNvSpPr>
          <p:nvPr/>
        </p:nvSpPr>
        <p:spPr bwMode="auto">
          <a:xfrm>
            <a:off x="1584325" y="5189538"/>
            <a:ext cx="10033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PE Router</a:t>
            </a:r>
          </a:p>
        </p:txBody>
      </p:sp>
      <p:pic>
        <p:nvPicPr>
          <p:cNvPr id="65560" name="Picture 14" descr="http://2.bp.blogspot.com/_pdKr5yG7P3w/TQm9ZEZTQJI/AAAAAAAAAr8/TISpPJl3gx4/s1600/Untitled.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5138" y="4340225"/>
            <a:ext cx="7683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61" name="TextBox 36"/>
          <p:cNvSpPr txBox="1">
            <a:spLocks noChangeArrowheads="1"/>
          </p:cNvSpPr>
          <p:nvPr/>
        </p:nvSpPr>
        <p:spPr bwMode="auto">
          <a:xfrm>
            <a:off x="215900" y="5189538"/>
            <a:ext cx="147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SGSN/GGSN</a:t>
            </a:r>
          </a:p>
        </p:txBody>
      </p:sp>
      <p:sp>
        <p:nvSpPr>
          <p:cNvPr id="65562" name="TextBox 64"/>
          <p:cNvSpPr txBox="1">
            <a:spLocks noChangeArrowheads="1"/>
          </p:cNvSpPr>
          <p:nvPr/>
        </p:nvSpPr>
        <p:spPr bwMode="auto">
          <a:xfrm>
            <a:off x="215900" y="5668963"/>
            <a:ext cx="4932363"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90000"/>
              </a:lnSpc>
              <a:spcBef>
                <a:spcPct val="0"/>
              </a:spcBef>
              <a:buClr>
                <a:schemeClr val="tx2"/>
              </a:buClr>
              <a:buSzPct val="75000"/>
              <a:buFontTx/>
              <a:buChar char="•"/>
            </a:pPr>
            <a:r>
              <a:rPr lang="en-GB" altLang="en-US" sz="1400">
                <a:cs typeface="Arial" pitchFamily="34" charset="0"/>
              </a:rPr>
              <a:t>Fragmented non-commodity hardware.</a:t>
            </a:r>
          </a:p>
          <a:p>
            <a:pPr eaLnBrk="1" hangingPunct="1">
              <a:lnSpc>
                <a:spcPct val="90000"/>
              </a:lnSpc>
              <a:spcBef>
                <a:spcPct val="0"/>
              </a:spcBef>
              <a:buClr>
                <a:schemeClr val="tx2"/>
              </a:buClr>
              <a:buSzPct val="75000"/>
              <a:buFontTx/>
              <a:buChar char="•"/>
            </a:pPr>
            <a:r>
              <a:rPr lang="en-GB" altLang="en-US" sz="1400">
                <a:cs typeface="Arial" pitchFamily="34" charset="0"/>
              </a:rPr>
              <a:t>Physical install per appliance per site.</a:t>
            </a:r>
          </a:p>
          <a:p>
            <a:pPr eaLnBrk="1" hangingPunct="1">
              <a:lnSpc>
                <a:spcPct val="90000"/>
              </a:lnSpc>
              <a:spcBef>
                <a:spcPct val="0"/>
              </a:spcBef>
              <a:buClr>
                <a:schemeClr val="tx2"/>
              </a:buClr>
              <a:buSzPct val="75000"/>
              <a:buFontTx/>
              <a:buChar char="•"/>
            </a:pPr>
            <a:r>
              <a:rPr lang="en-GB" altLang="en-US" sz="1400">
                <a:cs typeface="Arial" pitchFamily="34" charset="0"/>
              </a:rPr>
              <a:t>Hardware development large barrier to entry for new vendors, constraining innovation &amp; competition.</a:t>
            </a:r>
          </a:p>
          <a:p>
            <a:pPr eaLnBrk="1" hangingPunct="1">
              <a:lnSpc>
                <a:spcPct val="100000"/>
              </a:lnSpc>
              <a:spcBef>
                <a:spcPct val="0"/>
              </a:spcBef>
              <a:buClrTx/>
              <a:buFontTx/>
              <a:buNone/>
            </a:pPr>
            <a:endParaRPr lang="en-GB" altLang="en-US" sz="1400">
              <a:solidFill>
                <a:srgbClr val="558ED5"/>
              </a:solidFill>
              <a:cs typeface="Arial" pitchFamily="34" charset="0"/>
            </a:endParaRPr>
          </a:p>
        </p:txBody>
      </p:sp>
      <p:sp>
        <p:nvSpPr>
          <p:cNvPr id="66" name="Rectangle 65"/>
          <p:cNvSpPr/>
          <p:nvPr/>
        </p:nvSpPr>
        <p:spPr>
          <a:xfrm>
            <a:off x="2627313" y="1812925"/>
            <a:ext cx="1081087" cy="28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a:solidFill>
                <a:srgbClr val="FFFFFF"/>
              </a:solidFill>
            </a:endParaRPr>
          </a:p>
        </p:txBody>
      </p:sp>
      <p:sp>
        <p:nvSpPr>
          <p:cNvPr id="65564" name="Freeform 74"/>
          <p:cNvSpPr>
            <a:spLocks/>
          </p:cNvSpPr>
          <p:nvPr/>
        </p:nvSpPr>
        <p:spPr bwMode="auto">
          <a:xfrm>
            <a:off x="260350" y="1119188"/>
            <a:ext cx="5221288" cy="5492750"/>
          </a:xfrm>
          <a:custGeom>
            <a:avLst/>
            <a:gdLst>
              <a:gd name="T0" fmla="*/ 2147483647 w 3720"/>
              <a:gd name="T1" fmla="*/ 2147483647 h 4354"/>
              <a:gd name="T2" fmla="*/ 2147483647 w 3720"/>
              <a:gd name="T3" fmla="*/ 2147483647 h 4354"/>
              <a:gd name="T4" fmla="*/ 0 w 3720"/>
              <a:gd name="T5" fmla="*/ 2147483647 h 4354"/>
              <a:gd name="T6" fmla="*/ 0 w 3720"/>
              <a:gd name="T7" fmla="*/ 0 h 4354"/>
              <a:gd name="T8" fmla="*/ 2147483647 w 3720"/>
              <a:gd name="T9" fmla="*/ 2147483647 h 4354"/>
              <a:gd name="T10" fmla="*/ 0 60000 65536"/>
              <a:gd name="T11" fmla="*/ 0 60000 65536"/>
              <a:gd name="T12" fmla="*/ 0 60000 65536"/>
              <a:gd name="T13" fmla="*/ 0 60000 65536"/>
              <a:gd name="T14" fmla="*/ 0 60000 65536"/>
              <a:gd name="T15" fmla="*/ 0 w 3720"/>
              <a:gd name="T16" fmla="*/ 0 h 4354"/>
              <a:gd name="T17" fmla="*/ 3720 w 3720"/>
              <a:gd name="T18" fmla="*/ 4354 h 4354"/>
            </a:gdLst>
            <a:ahLst/>
            <a:cxnLst>
              <a:cxn ang="T10">
                <a:pos x="T0" y="T1"/>
              </a:cxn>
              <a:cxn ang="T11">
                <a:pos x="T2" y="T3"/>
              </a:cxn>
              <a:cxn ang="T12">
                <a:pos x="T4" y="T5"/>
              </a:cxn>
              <a:cxn ang="T13">
                <a:pos x="T6" y="T7"/>
              </a:cxn>
              <a:cxn ang="T14">
                <a:pos x="T8" y="T9"/>
              </a:cxn>
            </a:cxnLst>
            <a:rect l="T15" t="T16" r="T17" b="T18"/>
            <a:pathLst>
              <a:path w="3720" h="4354">
                <a:moveTo>
                  <a:pt x="3720" y="17"/>
                </a:moveTo>
                <a:lnTo>
                  <a:pt x="680" y="4354"/>
                </a:lnTo>
                <a:lnTo>
                  <a:pt x="0" y="4354"/>
                </a:lnTo>
                <a:lnTo>
                  <a:pt x="0" y="0"/>
                </a:lnTo>
                <a:lnTo>
                  <a:pt x="3720" y="17"/>
                </a:lnTo>
                <a:close/>
              </a:path>
            </a:pathLst>
          </a:custGeom>
          <a:gradFill rotWithShape="1">
            <a:gsLst>
              <a:gs pos="0">
                <a:srgbClr val="339933">
                  <a:alpha val="49001"/>
                </a:srgbClr>
              </a:gs>
              <a:gs pos="100000">
                <a:srgbClr val="77BB77">
                  <a:alpha val="7999"/>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65565" name="TextBox 41"/>
          <p:cNvSpPr txBox="1">
            <a:spLocks noChangeArrowheads="1"/>
          </p:cNvSpPr>
          <p:nvPr/>
        </p:nvSpPr>
        <p:spPr bwMode="auto">
          <a:xfrm>
            <a:off x="287338" y="1568450"/>
            <a:ext cx="4464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a:cs typeface="Arial" pitchFamily="34" charset="0"/>
              </a:rPr>
              <a:t>Classical Network Appliance Approach</a:t>
            </a:r>
          </a:p>
        </p:txBody>
      </p:sp>
      <p:sp>
        <p:nvSpPr>
          <p:cNvPr id="65566" name="AutoShape 75"/>
          <p:cNvSpPr>
            <a:spLocks noChangeArrowheads="1"/>
          </p:cNvSpPr>
          <p:nvPr/>
        </p:nvSpPr>
        <p:spPr bwMode="auto">
          <a:xfrm rot="16200000" flipH="1">
            <a:off x="2636044" y="-1104107"/>
            <a:ext cx="4981576" cy="57896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129" y="9827"/>
                </a:moveTo>
                <a:cubicBezTo>
                  <a:pt x="18965" y="8423"/>
                  <a:pt x="18449" y="7084"/>
                  <a:pt x="17629" y="5933"/>
                </a:cubicBezTo>
                <a:lnTo>
                  <a:pt x="19595" y="4532"/>
                </a:lnTo>
                <a:cubicBezTo>
                  <a:pt x="20651" y="6014"/>
                  <a:pt x="21315" y="7739"/>
                  <a:pt x="21527" y="9547"/>
                </a:cubicBezTo>
                <a:lnTo>
                  <a:pt x="24208" y="9233"/>
                </a:lnTo>
                <a:lnTo>
                  <a:pt x="20781" y="13568"/>
                </a:lnTo>
                <a:lnTo>
                  <a:pt x="16447" y="10140"/>
                </a:lnTo>
                <a:lnTo>
                  <a:pt x="19129" y="9827"/>
                </a:lnTo>
                <a:close/>
              </a:path>
            </a:pathLst>
          </a:custGeom>
          <a:gradFill rotWithShape="1">
            <a:gsLst>
              <a:gs pos="0">
                <a:srgbClr val="339933">
                  <a:alpha val="49001"/>
                </a:srgbClr>
              </a:gs>
              <a:gs pos="100000">
                <a:srgbClr val="77BB77">
                  <a:alpha val="7999"/>
                </a:srgbClr>
              </a:gs>
            </a:gsLst>
            <a:lin ang="27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n-US"/>
          </a:p>
        </p:txBody>
      </p:sp>
      <p:sp>
        <p:nvSpPr>
          <p:cNvPr id="160821" name="Rectangle 2"/>
          <p:cNvSpPr>
            <a:spLocks noChangeArrowheads="1"/>
          </p:cNvSpPr>
          <p:nvPr/>
        </p:nvSpPr>
        <p:spPr bwMode="auto">
          <a:xfrm>
            <a:off x="457200" y="180975"/>
            <a:ext cx="8229600" cy="1077913"/>
          </a:xfrm>
          <a:prstGeom prst="rect">
            <a:avLst/>
          </a:prstGeom>
          <a:noFill/>
          <a:ln>
            <a:noFill/>
          </a:ln>
          <a:extLst/>
        </p:spPr>
        <p:txBody>
          <a:bodyPr lIns="91408" tIns="45703" rIns="91408" bIns="45703"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auto">
              <a:spcBef>
                <a:spcPct val="0"/>
              </a:spcBef>
              <a:spcAft>
                <a:spcPts val="0"/>
              </a:spcAft>
              <a:buFontTx/>
              <a:buNone/>
              <a:defRPr/>
            </a:pPr>
            <a:endParaRPr lang="en-US" altLang="en-US" sz="4400" dirty="0">
              <a:solidFill>
                <a:schemeClr val="tx2"/>
              </a:solidFill>
              <a:latin typeface="+mj-lt"/>
              <a:ea typeface="+mj-ea"/>
              <a:cs typeface="+mj-cs"/>
            </a:endParaRPr>
          </a:p>
        </p:txBody>
      </p:sp>
      <p:sp>
        <p:nvSpPr>
          <p:cNvPr id="65568" name="Título 45"/>
          <p:cNvSpPr txBox="1">
            <a:spLocks/>
          </p:cNvSpPr>
          <p:nvPr/>
        </p:nvSpPr>
        <p:spPr bwMode="auto">
          <a:xfrm>
            <a:off x="304800" y="427038"/>
            <a:ext cx="6705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nSpc>
                <a:spcPct val="100000"/>
              </a:lnSpc>
              <a:spcBef>
                <a:spcPct val="0"/>
              </a:spcBef>
              <a:buClrTx/>
              <a:buFontTx/>
              <a:buNone/>
            </a:pPr>
            <a:r>
              <a:rPr lang="en-IN" altLang="en-US" sz="2400" b="1">
                <a:solidFill>
                  <a:srgbClr val="6D6E71"/>
                </a:solidFill>
              </a:rPr>
              <a:t>Traditional Approach </a:t>
            </a:r>
          </a:p>
        </p:txBody>
      </p:sp>
      <p:sp>
        <p:nvSpPr>
          <p:cNvPr id="56" name="Content Placeholder 2"/>
          <p:cNvSpPr txBox="1">
            <a:spLocks/>
          </p:cNvSpPr>
          <p:nvPr/>
        </p:nvSpPr>
        <p:spPr>
          <a:xfrm>
            <a:off x="5492750" y="1143000"/>
            <a:ext cx="3200400" cy="5486400"/>
          </a:xfrm>
          <a:prstGeom prst="rect">
            <a:avLst/>
          </a:prstGeom>
        </p:spPr>
        <p:txBody>
          <a:bodyPr/>
          <a:lstStyle>
            <a:lvl1pPr marL="342900" indent="-342900" algn="l" rtl="0" eaLnBrk="0" fontAlgn="base" hangingPunct="0">
              <a:lnSpc>
                <a:spcPct val="114000"/>
              </a:lnSpc>
              <a:spcBef>
                <a:spcPct val="20000"/>
              </a:spcBef>
              <a:spcAft>
                <a:spcPct val="0"/>
              </a:spcAft>
              <a:buClr>
                <a:srgbClr val="BF1313"/>
              </a:buClr>
              <a:buFont typeface="Wingdings" pitchFamily="2" charset="2"/>
              <a:buChar char="§"/>
              <a:defRPr>
                <a:solidFill>
                  <a:schemeClr val="tx1"/>
                </a:solidFill>
                <a:latin typeface="+mn-lt"/>
                <a:ea typeface="+mn-ea"/>
                <a:cs typeface="+mn-cs"/>
              </a:defRPr>
            </a:lvl1pPr>
            <a:lvl2pPr marL="742950" indent="-285750" algn="l" rtl="0" eaLnBrk="0" fontAlgn="base" hangingPunct="0">
              <a:lnSpc>
                <a:spcPct val="114000"/>
              </a:lnSpc>
              <a:spcBef>
                <a:spcPct val="20000"/>
              </a:spcBef>
              <a:spcAft>
                <a:spcPct val="0"/>
              </a:spcAft>
              <a:buClr>
                <a:srgbClr val="E63700"/>
              </a:buClr>
              <a:buFont typeface="Wingdings" pitchFamily="2" charset="2"/>
              <a:buChar char="§"/>
              <a:defRPr sz="1600">
                <a:solidFill>
                  <a:schemeClr val="tx1"/>
                </a:solidFill>
                <a:latin typeface="+mn-lt"/>
              </a:defRPr>
            </a:lvl2pPr>
            <a:lvl3pPr marL="1143000" indent="-228600" algn="l" rtl="0" eaLnBrk="0" fontAlgn="base" hangingPunct="0">
              <a:lnSpc>
                <a:spcPct val="114000"/>
              </a:lnSpc>
              <a:spcBef>
                <a:spcPct val="20000"/>
              </a:spcBef>
              <a:spcAft>
                <a:spcPct val="0"/>
              </a:spcAft>
              <a:buClr>
                <a:srgbClr val="FF0000"/>
              </a:buClr>
              <a:buChar char="•"/>
              <a:defRPr sz="1600">
                <a:solidFill>
                  <a:schemeClr val="tx1"/>
                </a:solidFill>
                <a:latin typeface="+mn-lt"/>
              </a:defRPr>
            </a:lvl3pPr>
            <a:lvl4pPr marL="1600200" indent="-228600" algn="l" rtl="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mn-lt"/>
              </a:defRPr>
            </a:lvl4pPr>
            <a:lvl5pPr marL="2057400" indent="-228600" algn="l" rtl="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mn-lt"/>
              </a:defRPr>
            </a:lvl5pPr>
            <a:lvl6pPr marL="25146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6pPr>
            <a:lvl7pPr marL="29718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7pPr>
            <a:lvl8pPr marL="34290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8pPr>
            <a:lvl9pPr marL="3886200" indent="-228600" algn="l" rtl="0" eaLnBrk="1" fontAlgn="base" hangingPunct="1">
              <a:spcBef>
                <a:spcPct val="20000"/>
              </a:spcBef>
              <a:spcAft>
                <a:spcPct val="0"/>
              </a:spcAft>
              <a:buClr>
                <a:schemeClr val="bg2"/>
              </a:buClr>
              <a:buFont typeface="Arial" charset="0"/>
              <a:buChar char="»"/>
              <a:defRPr sz="1600">
                <a:solidFill>
                  <a:schemeClr val="tx1"/>
                </a:solidFill>
                <a:latin typeface="+mn-lt"/>
              </a:defRPr>
            </a:lvl9pPr>
          </a:lstStyle>
          <a:p>
            <a:pPr marL="0" indent="0" eaLnBrk="1" hangingPunct="1">
              <a:buFont typeface="Wingdings" pitchFamily="2" charset="2"/>
              <a:buNone/>
              <a:defRPr/>
            </a:pPr>
            <a:r>
              <a:rPr lang="en-US" altLang="en-US" b="1" kern="0" dirty="0" smtClean="0"/>
              <a:t>Down</a:t>
            </a:r>
          </a:p>
          <a:p>
            <a:pPr eaLnBrk="1" hangingPunct="1">
              <a:defRPr/>
            </a:pPr>
            <a:r>
              <a:rPr lang="en-US" altLang="en-US" kern="0" dirty="0" smtClean="0"/>
              <a:t>High </a:t>
            </a:r>
            <a:r>
              <a:rPr lang="en-US" altLang="en-US" kern="0" dirty="0" err="1" smtClean="0"/>
              <a:t>CAPEx</a:t>
            </a:r>
            <a:r>
              <a:rPr lang="en-US" altLang="en-US" kern="0" dirty="0" smtClean="0"/>
              <a:t> and </a:t>
            </a:r>
            <a:r>
              <a:rPr lang="en-US" altLang="en-US" kern="0" dirty="0" err="1" smtClean="0"/>
              <a:t>OPEx</a:t>
            </a:r>
            <a:endParaRPr lang="en-US" altLang="en-US" kern="0" dirty="0" smtClean="0"/>
          </a:p>
          <a:p>
            <a:pPr eaLnBrk="1" hangingPunct="1">
              <a:defRPr/>
            </a:pPr>
            <a:r>
              <a:rPr lang="en-US" altLang="en-US" kern="0" dirty="0" smtClean="0"/>
              <a:t>High Power and Energy </a:t>
            </a:r>
          </a:p>
          <a:p>
            <a:pPr eaLnBrk="1" hangingPunct="1">
              <a:defRPr/>
            </a:pPr>
            <a:r>
              <a:rPr lang="en-US" altLang="en-US" kern="0" dirty="0" smtClean="0"/>
              <a:t>Service Innovation is challenging </a:t>
            </a:r>
          </a:p>
          <a:p>
            <a:pPr eaLnBrk="1" hangingPunct="1">
              <a:defRPr/>
            </a:pPr>
            <a:r>
              <a:rPr lang="en-US" altLang="en-US" kern="0" dirty="0" smtClean="0"/>
              <a:t>Purpose specific ASIC hardware </a:t>
            </a:r>
          </a:p>
          <a:p>
            <a:pPr eaLnBrk="1" hangingPunct="1">
              <a:defRPr/>
            </a:pPr>
            <a:r>
              <a:rPr lang="en-US" altLang="en-US" kern="0" dirty="0" smtClean="0"/>
              <a:t>Weak Administration </a:t>
            </a:r>
          </a:p>
          <a:p>
            <a:pPr eaLnBrk="1" hangingPunct="1">
              <a:defRPr/>
            </a:pPr>
            <a:r>
              <a:rPr lang="en-US" altLang="en-US" kern="0" dirty="0" smtClean="0"/>
              <a:t>Development lifecycle – Nightmare </a:t>
            </a:r>
          </a:p>
          <a:p>
            <a:pPr eaLnBrk="1" hangingPunct="1">
              <a:defRPr/>
            </a:pPr>
            <a:r>
              <a:rPr lang="en-US" altLang="en-US" kern="0" dirty="0" smtClean="0"/>
              <a:t>Physical Appliance per appliance per site </a:t>
            </a:r>
          </a:p>
          <a:p>
            <a:pPr marL="0" indent="0" eaLnBrk="1" hangingPunct="1">
              <a:buFont typeface="Wingdings" pitchFamily="2" charset="2"/>
              <a:buNone/>
              <a:defRPr/>
            </a:pPr>
            <a:r>
              <a:rPr lang="en-US" altLang="en-US" b="1" kern="0" dirty="0" smtClean="0"/>
              <a:t>UP</a:t>
            </a:r>
          </a:p>
          <a:p>
            <a:pPr eaLnBrk="1" hangingPunct="1">
              <a:defRPr/>
            </a:pPr>
            <a:r>
              <a:rPr lang="en-US" altLang="en-US" kern="0" dirty="0" smtClean="0"/>
              <a:t>Efficiency/Performance because logic in HARDWARE </a:t>
            </a:r>
            <a:endParaRPr lang="en-US" altLang="en-US" sz="2000" kern="0" dirty="0" smtClean="0"/>
          </a:p>
          <a:p>
            <a:pPr marL="0" indent="0" eaLnBrk="1" hangingPunct="1">
              <a:buFont typeface="Wingdings" pitchFamily="2" charset="2"/>
              <a:buNone/>
              <a:defRPr/>
            </a:pPr>
            <a:endParaRPr lang="en-US" altLang="en-US" sz="2000" kern="0" dirty="0" smtClean="0"/>
          </a:p>
          <a:p>
            <a:pPr eaLnBrk="1" hangingPunct="1">
              <a:defRPr/>
            </a:pPr>
            <a:endParaRPr lang="en-US" altLang="en-US" sz="2000" kern="0" dirty="0" smtClean="0"/>
          </a:p>
          <a:p>
            <a:pPr eaLnBrk="1" hangingPunct="1">
              <a:defRPr/>
            </a:pPr>
            <a:endParaRPr lang="en-US" altLang="en-US" sz="2000" kern="0" dirty="0" smtClean="0"/>
          </a:p>
          <a:p>
            <a:pPr eaLnBrk="1" hangingPunct="1">
              <a:defRPr/>
            </a:pPr>
            <a:endParaRPr lang="en-US" altLang="en-US" sz="2400" kern="0" dirty="0" smtClean="0"/>
          </a:p>
          <a:p>
            <a:pPr eaLnBrk="1" hangingPunct="1">
              <a:defRPr/>
            </a:pPr>
            <a:endParaRPr lang="en-US" altLang="en-US" sz="2400" kern="0" dirty="0" smtClean="0"/>
          </a:p>
          <a:p>
            <a:pPr eaLnBrk="1" hangingPunct="1">
              <a:defRPr/>
            </a:pPr>
            <a:endParaRPr lang="en-US" altLang="en-US" sz="2000" kern="0" dirty="0" smtClean="0"/>
          </a:p>
        </p:txBody>
      </p:sp>
    </p:spTree>
    <p:extLst>
      <p:ext uri="{BB962C8B-B14F-4D97-AF65-F5344CB8AC3E}">
        <p14:creationId xmlns:p14="http://schemas.microsoft.com/office/powerpoint/2010/main" val="3253845086"/>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loud 3"/>
          <p:cNvSpPr/>
          <p:nvPr/>
        </p:nvSpPr>
        <p:spPr>
          <a:xfrm>
            <a:off x="5759450" y="1100138"/>
            <a:ext cx="2952750" cy="1547812"/>
          </a:xfrm>
          <a:prstGeom prst="clou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pic>
        <p:nvPicPr>
          <p:cNvPr id="66563" name="Picture 2" descr="Product Small Pho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5263" y="4484688"/>
            <a:ext cx="741362"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4" name="TextBox 7"/>
          <p:cNvSpPr txBox="1">
            <a:spLocks noChangeArrowheads="1"/>
          </p:cNvSpPr>
          <p:nvPr/>
        </p:nvSpPr>
        <p:spPr bwMode="auto">
          <a:xfrm>
            <a:off x="2771775" y="5203825"/>
            <a:ext cx="66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BRAS</a:t>
            </a:r>
          </a:p>
        </p:txBody>
      </p:sp>
      <p:sp>
        <p:nvSpPr>
          <p:cNvPr id="66565" name="TextBox 12"/>
          <p:cNvSpPr txBox="1">
            <a:spLocks noChangeArrowheads="1"/>
          </p:cNvSpPr>
          <p:nvPr/>
        </p:nvSpPr>
        <p:spPr bwMode="auto">
          <a:xfrm>
            <a:off x="1562100" y="3865563"/>
            <a:ext cx="795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Firewall</a:t>
            </a:r>
          </a:p>
        </p:txBody>
      </p:sp>
      <p:pic>
        <p:nvPicPr>
          <p:cNvPr id="66566" name="Picture 10" descr="http://www.checkpoint.com/images/products/appliances/graphics/main-320x215.jpg"/>
          <p:cNvPicPr>
            <a:picLocks noChangeAspect="1" noChangeArrowheads="1"/>
          </p:cNvPicPr>
          <p:nvPr/>
        </p:nvPicPr>
        <p:blipFill>
          <a:blip r:embed="rId4">
            <a:extLst>
              <a:ext uri="{28A0092B-C50C-407E-A947-70E740481C1C}">
                <a14:useLocalDpi xmlns:a14="http://schemas.microsoft.com/office/drawing/2010/main" val="0"/>
              </a:ext>
            </a:extLst>
          </a:blip>
          <a:srcRect l="56769" t="13052" r="4462"/>
          <a:stretch>
            <a:fillRect/>
          </a:stretch>
        </p:blipFill>
        <p:spPr bwMode="auto">
          <a:xfrm>
            <a:off x="1570038" y="3090863"/>
            <a:ext cx="690562"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7"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l="17577" t="40077" r="63269" b="42200"/>
          <a:stretch>
            <a:fillRect/>
          </a:stretch>
        </p:blipFill>
        <p:spPr bwMode="auto">
          <a:xfrm>
            <a:off x="338138" y="3400425"/>
            <a:ext cx="962025"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8" name="TextBox 16"/>
          <p:cNvSpPr txBox="1">
            <a:spLocks noChangeArrowheads="1"/>
          </p:cNvSpPr>
          <p:nvPr/>
        </p:nvSpPr>
        <p:spPr bwMode="auto">
          <a:xfrm>
            <a:off x="611188" y="3871913"/>
            <a:ext cx="4810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DPI</a:t>
            </a:r>
          </a:p>
        </p:txBody>
      </p:sp>
      <p:pic>
        <p:nvPicPr>
          <p:cNvPr id="66569" name="Picture 13" descr="http://di1.shopping.com/images1/pi/98/4d/f4/20219018-100x100-0-0.jpg"/>
          <p:cNvPicPr>
            <a:picLocks noChangeAspect="1" noChangeArrowheads="1"/>
          </p:cNvPicPr>
          <p:nvPr/>
        </p:nvPicPr>
        <p:blipFill>
          <a:blip r:embed="rId6">
            <a:extLst>
              <a:ext uri="{28A0092B-C50C-407E-A947-70E740481C1C}">
                <a14:useLocalDpi xmlns:a14="http://schemas.microsoft.com/office/drawing/2010/main" val="0"/>
              </a:ext>
            </a:extLst>
          </a:blip>
          <a:srcRect t="17110" b="18085"/>
          <a:stretch>
            <a:fillRect/>
          </a:stretch>
        </p:blipFill>
        <p:spPr bwMode="auto">
          <a:xfrm>
            <a:off x="1439863" y="2063750"/>
            <a:ext cx="1008062"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0" name="TextBox 19"/>
          <p:cNvSpPr txBox="1">
            <a:spLocks noChangeArrowheads="1"/>
          </p:cNvSpPr>
          <p:nvPr/>
        </p:nvSpPr>
        <p:spPr bwMode="auto">
          <a:xfrm>
            <a:off x="1547813" y="2603500"/>
            <a:ext cx="5699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CDN</a:t>
            </a:r>
          </a:p>
        </p:txBody>
      </p:sp>
      <p:pic>
        <p:nvPicPr>
          <p:cNvPr id="66571" name="Picture 6" descr="http://www.linuxfordevices.com/images/stories/spirent_testcenter_sm.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48150" y="3200400"/>
            <a:ext cx="7477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2" name="TextBox 24"/>
          <p:cNvSpPr txBox="1">
            <a:spLocks noChangeArrowheads="1"/>
          </p:cNvSpPr>
          <p:nvPr/>
        </p:nvSpPr>
        <p:spPr bwMode="auto">
          <a:xfrm>
            <a:off x="4064000" y="3879850"/>
            <a:ext cx="1079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Tester/QoE</a:t>
            </a:r>
          </a:p>
          <a:p>
            <a:pPr algn="ctr" eaLnBrk="1" hangingPunct="1">
              <a:lnSpc>
                <a:spcPct val="100000"/>
              </a:lnSpc>
              <a:spcBef>
                <a:spcPct val="0"/>
              </a:spcBef>
              <a:buClrTx/>
              <a:buFontTx/>
              <a:buNone/>
            </a:pPr>
            <a:r>
              <a:rPr lang="en-GB" altLang="en-US" sz="1400">
                <a:solidFill>
                  <a:srgbClr val="0070C0"/>
                </a:solidFill>
                <a:cs typeface="Arial" pitchFamily="34" charset="0"/>
              </a:rPr>
              <a:t>monitor</a:t>
            </a:r>
          </a:p>
        </p:txBody>
      </p:sp>
      <p:pic>
        <p:nvPicPr>
          <p:cNvPr id="66573" name="Picture 8" descr="http://us.teneo.net/Uploads/images/705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08438" y="2063750"/>
            <a:ext cx="936625"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4" name="TextBox 27"/>
          <p:cNvSpPr txBox="1">
            <a:spLocks noChangeArrowheads="1"/>
          </p:cNvSpPr>
          <p:nvPr/>
        </p:nvSpPr>
        <p:spPr bwMode="auto">
          <a:xfrm>
            <a:off x="3924300" y="2540000"/>
            <a:ext cx="11699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WAN</a:t>
            </a:r>
          </a:p>
          <a:p>
            <a:pPr algn="ctr" eaLnBrk="1" hangingPunct="1">
              <a:lnSpc>
                <a:spcPct val="100000"/>
              </a:lnSpc>
              <a:spcBef>
                <a:spcPct val="0"/>
              </a:spcBef>
              <a:buClrTx/>
              <a:buFontTx/>
              <a:buNone/>
            </a:pPr>
            <a:r>
              <a:rPr lang="en-GB" altLang="en-US" sz="1400">
                <a:solidFill>
                  <a:srgbClr val="0070C0"/>
                </a:solidFill>
                <a:cs typeface="Arial" pitchFamily="34" charset="0"/>
              </a:rPr>
              <a:t>Acceleration</a:t>
            </a:r>
          </a:p>
        </p:txBody>
      </p:sp>
      <p:pic>
        <p:nvPicPr>
          <p:cNvPr id="66575" name="Picture 10" descr="http://solacecdn.s3.amazonaws.com/new/wp-content/uploads/2010/02/3260_front_200p-wid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0363" y="1992313"/>
            <a:ext cx="841375"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6" name="TextBox 30"/>
          <p:cNvSpPr txBox="1">
            <a:spLocks noChangeArrowheads="1"/>
          </p:cNvSpPr>
          <p:nvPr/>
        </p:nvSpPr>
        <p:spPr bwMode="auto">
          <a:xfrm>
            <a:off x="358775" y="2568575"/>
            <a:ext cx="9112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Message</a:t>
            </a:r>
          </a:p>
          <a:p>
            <a:pPr algn="ctr" eaLnBrk="1" hangingPunct="1">
              <a:lnSpc>
                <a:spcPct val="100000"/>
              </a:lnSpc>
              <a:spcBef>
                <a:spcPct val="0"/>
              </a:spcBef>
              <a:buClrTx/>
              <a:buFontTx/>
              <a:buNone/>
            </a:pPr>
            <a:r>
              <a:rPr lang="en-GB" altLang="en-US" sz="1400">
                <a:solidFill>
                  <a:srgbClr val="0070C0"/>
                </a:solidFill>
                <a:cs typeface="Arial" pitchFamily="34" charset="0"/>
              </a:rPr>
              <a:t>Router</a:t>
            </a:r>
          </a:p>
        </p:txBody>
      </p:sp>
      <p:pic>
        <p:nvPicPr>
          <p:cNvPr id="66577" name="Picture 12" descr="http://www.nokiasiemensnetworks.com/sites/default/files/image_files/img_multicontroler.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86200" y="4376738"/>
            <a:ext cx="104616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8" name="TextBox 32"/>
          <p:cNvSpPr txBox="1">
            <a:spLocks noChangeArrowheads="1"/>
          </p:cNvSpPr>
          <p:nvPr/>
        </p:nvSpPr>
        <p:spPr bwMode="auto">
          <a:xfrm>
            <a:off x="3686175" y="5168900"/>
            <a:ext cx="1409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Radio Access</a:t>
            </a:r>
            <a:br>
              <a:rPr lang="en-GB" altLang="en-US" sz="1400">
                <a:solidFill>
                  <a:srgbClr val="0070C0"/>
                </a:solidFill>
                <a:cs typeface="Arial" pitchFamily="34" charset="0"/>
              </a:rPr>
            </a:br>
            <a:r>
              <a:rPr lang="en-GB" altLang="en-US" sz="1400">
                <a:solidFill>
                  <a:srgbClr val="0070C0"/>
                </a:solidFill>
                <a:cs typeface="Arial" pitchFamily="34" charset="0"/>
              </a:rPr>
              <a:t>Network Nodes</a:t>
            </a:r>
          </a:p>
        </p:txBody>
      </p:sp>
      <p:pic>
        <p:nvPicPr>
          <p:cNvPr id="66579" name="Picture 16" descr="http://farm5.static.flickr.com/4111/4949006335_e8a306f6c2.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30488" y="3152775"/>
            <a:ext cx="950912"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80" name="TextBox 38"/>
          <p:cNvSpPr txBox="1">
            <a:spLocks noChangeArrowheads="1"/>
          </p:cNvSpPr>
          <p:nvPr/>
        </p:nvSpPr>
        <p:spPr bwMode="auto">
          <a:xfrm>
            <a:off x="2613025" y="3844925"/>
            <a:ext cx="10763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Carrier</a:t>
            </a:r>
            <a:br>
              <a:rPr lang="en-GB" altLang="en-US" sz="1400">
                <a:solidFill>
                  <a:srgbClr val="0070C0"/>
                </a:solidFill>
                <a:cs typeface="Arial" pitchFamily="34" charset="0"/>
              </a:rPr>
            </a:br>
            <a:r>
              <a:rPr lang="en-GB" altLang="en-US" sz="1400">
                <a:solidFill>
                  <a:srgbClr val="0070C0"/>
                </a:solidFill>
                <a:cs typeface="Arial" pitchFamily="34" charset="0"/>
              </a:rPr>
              <a:t>Grade NAT</a:t>
            </a:r>
          </a:p>
        </p:txBody>
      </p:sp>
      <p:pic>
        <p:nvPicPr>
          <p:cNvPr id="66581" name="Picture 18" descr="http://partners.varphonex.com/images/acme_border_controller.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0338" y="1776413"/>
            <a:ext cx="928687"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82" name="TextBox 42"/>
          <p:cNvSpPr txBox="1">
            <a:spLocks noChangeArrowheads="1"/>
          </p:cNvSpPr>
          <p:nvPr/>
        </p:nvSpPr>
        <p:spPr bwMode="auto">
          <a:xfrm>
            <a:off x="2519363" y="2568575"/>
            <a:ext cx="1476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ession Border</a:t>
            </a:r>
          </a:p>
          <a:p>
            <a:pPr algn="ctr" eaLnBrk="1" hangingPunct="1">
              <a:lnSpc>
                <a:spcPct val="100000"/>
              </a:lnSpc>
              <a:spcBef>
                <a:spcPct val="0"/>
              </a:spcBef>
              <a:buClrTx/>
              <a:buFontTx/>
              <a:buNone/>
            </a:pPr>
            <a:r>
              <a:rPr lang="en-GB" altLang="en-US" sz="1400">
                <a:solidFill>
                  <a:srgbClr val="0070C0"/>
                </a:solidFill>
                <a:cs typeface="Arial" pitchFamily="34" charset="0"/>
              </a:rPr>
              <a:t>Controller</a:t>
            </a:r>
          </a:p>
        </p:txBody>
      </p:sp>
      <p:sp>
        <p:nvSpPr>
          <p:cNvPr id="66583" name="TextBox 43"/>
          <p:cNvSpPr txBox="1">
            <a:spLocks noChangeArrowheads="1"/>
          </p:cNvSpPr>
          <p:nvPr/>
        </p:nvSpPr>
        <p:spPr bwMode="auto">
          <a:xfrm>
            <a:off x="5256213" y="6140450"/>
            <a:ext cx="3600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r" eaLnBrk="1" hangingPunct="1">
              <a:lnSpc>
                <a:spcPct val="100000"/>
              </a:lnSpc>
              <a:spcBef>
                <a:spcPct val="0"/>
              </a:spcBef>
              <a:buClrTx/>
              <a:buFontTx/>
              <a:buNone/>
            </a:pPr>
            <a:r>
              <a:rPr lang="en-GB" altLang="en-US">
                <a:cs typeface="Arial" pitchFamily="34" charset="0"/>
              </a:rPr>
              <a:t>Network Virtualisation Approach</a:t>
            </a:r>
          </a:p>
        </p:txBody>
      </p:sp>
      <p:pic>
        <p:nvPicPr>
          <p:cNvPr id="66584" name="Picture 4" descr="Large Phot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03388" y="4376738"/>
            <a:ext cx="7334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85" name="TextBox 10"/>
          <p:cNvSpPr txBox="1">
            <a:spLocks noChangeArrowheads="1"/>
          </p:cNvSpPr>
          <p:nvPr/>
        </p:nvSpPr>
        <p:spPr bwMode="auto">
          <a:xfrm>
            <a:off x="1584325" y="5189538"/>
            <a:ext cx="10033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PE Router</a:t>
            </a:r>
          </a:p>
        </p:txBody>
      </p:sp>
      <p:pic>
        <p:nvPicPr>
          <p:cNvPr id="66586" name="Picture 14" descr="http://2.bp.blogspot.com/_pdKr5yG7P3w/TQm9ZEZTQJI/AAAAAAAAAr8/TISpPJl3gx4/s1600/Untitled.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5138" y="4340225"/>
            <a:ext cx="76835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87" name="TextBox 36"/>
          <p:cNvSpPr txBox="1">
            <a:spLocks noChangeArrowheads="1"/>
          </p:cNvSpPr>
          <p:nvPr/>
        </p:nvSpPr>
        <p:spPr bwMode="auto">
          <a:xfrm>
            <a:off x="215900" y="5189538"/>
            <a:ext cx="147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400">
                <a:solidFill>
                  <a:srgbClr val="0070C0"/>
                </a:solidFill>
                <a:cs typeface="Arial" pitchFamily="34" charset="0"/>
              </a:rPr>
              <a:t>SGSN/GGSN</a:t>
            </a:r>
          </a:p>
        </p:txBody>
      </p:sp>
      <p:pic>
        <p:nvPicPr>
          <p:cNvPr id="66588"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424738" y="16398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89"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034338" y="16525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90"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77038" y="16525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91"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142038" y="16398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92"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80338" y="19954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93"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396038" y="19827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94" name="Picture 29" descr="ICON_VirtApp_Q10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094538" y="2008188"/>
            <a:ext cx="49688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95" name="Text Box 30"/>
          <p:cNvSpPr txBox="1">
            <a:spLocks noChangeArrowheads="1"/>
          </p:cNvSpPr>
          <p:nvPr/>
        </p:nvSpPr>
        <p:spPr bwMode="auto">
          <a:xfrm>
            <a:off x="6011863" y="1352550"/>
            <a:ext cx="26828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eaLnBrk="0" hangingPunct="0">
              <a:lnSpc>
                <a:spcPct val="114000"/>
              </a:lnSpc>
              <a:spcBef>
                <a:spcPct val="20000"/>
              </a:spcBef>
              <a:buClr>
                <a:srgbClr val="BF1313"/>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9pPr>
          </a:lstStyle>
          <a:p>
            <a:pPr algn="ctr" eaLnBrk="1" hangingPunct="1">
              <a:lnSpc>
                <a:spcPct val="80000"/>
              </a:lnSpc>
              <a:spcBef>
                <a:spcPct val="0"/>
              </a:spcBef>
              <a:buClr>
                <a:srgbClr val="4D4D4D"/>
              </a:buClr>
              <a:buFontTx/>
              <a:buNone/>
            </a:pPr>
            <a:r>
              <a:rPr lang="en-GB" altLang="en-US" sz="1400">
                <a:cs typeface="Arial" pitchFamily="34" charset="0"/>
              </a:rPr>
              <a:t>Independent Software Vendors</a:t>
            </a:r>
          </a:p>
        </p:txBody>
      </p:sp>
      <p:sp>
        <p:nvSpPr>
          <p:cNvPr id="66596" name="TextBox 45"/>
          <p:cNvSpPr txBox="1">
            <a:spLocks noChangeArrowheads="1"/>
          </p:cNvSpPr>
          <p:nvPr/>
        </p:nvSpPr>
        <p:spPr bwMode="auto">
          <a:xfrm>
            <a:off x="5976938" y="5492750"/>
            <a:ext cx="19764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tandard High Volume</a:t>
            </a:r>
          </a:p>
          <a:p>
            <a:pPr algn="ctr" eaLnBrk="1" hangingPunct="1">
              <a:lnSpc>
                <a:spcPct val="100000"/>
              </a:lnSpc>
              <a:spcBef>
                <a:spcPct val="0"/>
              </a:spcBef>
              <a:buClrTx/>
              <a:buFontTx/>
              <a:buNone/>
            </a:pPr>
            <a:r>
              <a:rPr lang="en-GB" altLang="en-US" sz="1400">
                <a:solidFill>
                  <a:srgbClr val="0070C0"/>
                </a:solidFill>
                <a:cs typeface="Arial" pitchFamily="34" charset="0"/>
              </a:rPr>
              <a:t>Ethernet Switches</a:t>
            </a:r>
          </a:p>
        </p:txBody>
      </p:sp>
      <p:pic>
        <p:nvPicPr>
          <p:cNvPr id="66597" name="Picture 6" descr="http://t1.gstatic.com/images?q=tbn:ANd9GcTUFD7wvOt_9mnoGHjnQK7rpnH3119LecHeYdzsH6mkF4_acWhOhw"/>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42063" y="4911725"/>
            <a:ext cx="522287"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98" name="TextBox 45"/>
          <p:cNvSpPr txBox="1">
            <a:spLocks noChangeArrowheads="1"/>
          </p:cNvSpPr>
          <p:nvPr/>
        </p:nvSpPr>
        <p:spPr bwMode="auto">
          <a:xfrm>
            <a:off x="5638800" y="4583113"/>
            <a:ext cx="2638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tandard High Volume Storage</a:t>
            </a:r>
          </a:p>
        </p:txBody>
      </p:sp>
      <p:sp>
        <p:nvSpPr>
          <p:cNvPr id="66599" name="TextBox 40"/>
          <p:cNvSpPr txBox="1">
            <a:spLocks noChangeArrowheads="1"/>
          </p:cNvSpPr>
          <p:nvPr/>
        </p:nvSpPr>
        <p:spPr bwMode="auto">
          <a:xfrm>
            <a:off x="5668963" y="4103688"/>
            <a:ext cx="2628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chemeClr val="accent1"/>
                </a:solidFill>
                <a:cs typeface="Arial" pitchFamily="34" charset="0"/>
              </a:rPr>
              <a:t>Standard High Volume Servers</a:t>
            </a:r>
          </a:p>
        </p:txBody>
      </p:sp>
      <p:pic>
        <p:nvPicPr>
          <p:cNvPr id="66600" name="Picture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89663" y="3548063"/>
            <a:ext cx="87471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601" name="Picture 86"/>
          <p:cNvPicPr>
            <a:picLocks noChangeAspect="1" noChangeArrowheads="1"/>
          </p:cNvPicPr>
          <p:nvPr/>
        </p:nvPicPr>
        <p:blipFill>
          <a:blip r:embed="rId18">
            <a:extLst>
              <a:ext uri="{28A0092B-C50C-407E-A947-70E740481C1C}">
                <a14:useLocalDpi xmlns:a14="http://schemas.microsoft.com/office/drawing/2010/main" val="0"/>
              </a:ext>
            </a:extLst>
          </a:blip>
          <a:srcRect r="1637"/>
          <a:stretch>
            <a:fillRect/>
          </a:stretch>
        </p:blipFill>
        <p:spPr bwMode="auto">
          <a:xfrm>
            <a:off x="6286500" y="4405313"/>
            <a:ext cx="6334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602" name="Picture 6" descr="http://t1.gstatic.com/images?q=tbn:ANd9GcTUFD7wvOt_9mnoGHjnQK7rpnH3119LecHeYdzsH6mkF4_acWhOhw"/>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127875" y="4916488"/>
            <a:ext cx="522288"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603" name="Picture 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75475" y="3552825"/>
            <a:ext cx="8763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604" name="Picture 86"/>
          <p:cNvPicPr>
            <a:picLocks noChangeAspect="1" noChangeArrowheads="1"/>
          </p:cNvPicPr>
          <p:nvPr/>
        </p:nvPicPr>
        <p:blipFill>
          <a:blip r:embed="rId18">
            <a:extLst>
              <a:ext uri="{28A0092B-C50C-407E-A947-70E740481C1C}">
                <a14:useLocalDpi xmlns:a14="http://schemas.microsoft.com/office/drawing/2010/main" val="0"/>
              </a:ext>
            </a:extLst>
          </a:blip>
          <a:srcRect r="1637"/>
          <a:stretch>
            <a:fillRect/>
          </a:stretch>
        </p:blipFill>
        <p:spPr bwMode="auto">
          <a:xfrm>
            <a:off x="7073900" y="4410075"/>
            <a:ext cx="63182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Down Arrow 61"/>
          <p:cNvSpPr/>
          <p:nvPr/>
        </p:nvSpPr>
        <p:spPr>
          <a:xfrm>
            <a:off x="6624638" y="2611438"/>
            <a:ext cx="287337" cy="9366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pic>
        <p:nvPicPr>
          <p:cNvPr id="66606" name="Picture 46" descr="AG00221_"/>
          <p:cNvPicPr>
            <a:picLocks noChangeAspect="1" noChangeArrowheads="1" noCrop="1"/>
          </p:cNvPicPr>
          <p:nvPr/>
        </p:nvPicPr>
        <p:blipFill>
          <a:blip r:embed="rId20">
            <a:extLst>
              <a:ext uri="{28A0092B-C50C-407E-A947-70E740481C1C}">
                <a14:useLocalDpi xmlns:a14="http://schemas.microsoft.com/office/drawing/2010/main" val="0"/>
              </a:ext>
            </a:extLst>
          </a:blip>
          <a:srcRect/>
          <a:stretch>
            <a:fillRect/>
          </a:stretch>
        </p:blipFill>
        <p:spPr bwMode="auto">
          <a:xfrm flipH="1">
            <a:off x="6408738" y="2827338"/>
            <a:ext cx="6223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607" name="TextBox 63"/>
          <p:cNvSpPr txBox="1">
            <a:spLocks noChangeArrowheads="1"/>
          </p:cNvSpPr>
          <p:nvPr/>
        </p:nvSpPr>
        <p:spPr bwMode="auto">
          <a:xfrm>
            <a:off x="7056438" y="2719388"/>
            <a:ext cx="11398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200">
                <a:solidFill>
                  <a:srgbClr val="558ED5"/>
                </a:solidFill>
                <a:cs typeface="Arial" pitchFamily="34" charset="0"/>
              </a:rPr>
              <a:t>Orchestrated,</a:t>
            </a:r>
          </a:p>
          <a:p>
            <a:pPr eaLnBrk="1" hangingPunct="1">
              <a:lnSpc>
                <a:spcPct val="100000"/>
              </a:lnSpc>
              <a:spcBef>
                <a:spcPct val="0"/>
              </a:spcBef>
              <a:buClrTx/>
              <a:buFontTx/>
              <a:buNone/>
            </a:pPr>
            <a:r>
              <a:rPr lang="en-GB" altLang="en-US" sz="1200">
                <a:solidFill>
                  <a:srgbClr val="558ED5"/>
                </a:solidFill>
                <a:cs typeface="Arial" pitchFamily="34" charset="0"/>
              </a:rPr>
              <a:t>automatic &amp;</a:t>
            </a:r>
          </a:p>
          <a:p>
            <a:pPr eaLnBrk="1" hangingPunct="1">
              <a:lnSpc>
                <a:spcPct val="100000"/>
              </a:lnSpc>
              <a:spcBef>
                <a:spcPct val="0"/>
              </a:spcBef>
              <a:buClrTx/>
              <a:buFontTx/>
              <a:buNone/>
            </a:pPr>
            <a:r>
              <a:rPr lang="en-GB" altLang="en-US" sz="1200">
                <a:solidFill>
                  <a:srgbClr val="558ED5"/>
                </a:solidFill>
                <a:cs typeface="Arial" pitchFamily="34" charset="0"/>
              </a:rPr>
              <a:t>remote install.</a:t>
            </a:r>
          </a:p>
        </p:txBody>
      </p:sp>
      <p:sp>
        <p:nvSpPr>
          <p:cNvPr id="66608" name="TextBox 64"/>
          <p:cNvSpPr txBox="1">
            <a:spLocks noChangeArrowheads="1"/>
          </p:cNvSpPr>
          <p:nvPr/>
        </p:nvSpPr>
        <p:spPr bwMode="auto">
          <a:xfrm>
            <a:off x="215900" y="5668963"/>
            <a:ext cx="4932363"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90000"/>
              </a:lnSpc>
              <a:spcBef>
                <a:spcPct val="0"/>
              </a:spcBef>
              <a:buClr>
                <a:schemeClr val="tx2"/>
              </a:buClr>
              <a:buSzPct val="75000"/>
              <a:buFontTx/>
              <a:buChar char="•"/>
            </a:pPr>
            <a:r>
              <a:rPr lang="en-GB" altLang="en-US" sz="1400">
                <a:cs typeface="Arial" pitchFamily="34" charset="0"/>
              </a:rPr>
              <a:t>Fragmented non-commodity hardware.</a:t>
            </a:r>
          </a:p>
          <a:p>
            <a:pPr eaLnBrk="1" hangingPunct="1">
              <a:lnSpc>
                <a:spcPct val="90000"/>
              </a:lnSpc>
              <a:spcBef>
                <a:spcPct val="0"/>
              </a:spcBef>
              <a:buClr>
                <a:schemeClr val="tx2"/>
              </a:buClr>
              <a:buSzPct val="75000"/>
              <a:buFontTx/>
              <a:buChar char="•"/>
            </a:pPr>
            <a:r>
              <a:rPr lang="en-GB" altLang="en-US" sz="1400">
                <a:cs typeface="Arial" pitchFamily="34" charset="0"/>
              </a:rPr>
              <a:t>Physical install per appliance per site.</a:t>
            </a:r>
          </a:p>
          <a:p>
            <a:pPr eaLnBrk="1" hangingPunct="1">
              <a:lnSpc>
                <a:spcPct val="90000"/>
              </a:lnSpc>
              <a:spcBef>
                <a:spcPct val="0"/>
              </a:spcBef>
              <a:buClr>
                <a:schemeClr val="tx2"/>
              </a:buClr>
              <a:buSzPct val="75000"/>
              <a:buFontTx/>
              <a:buChar char="•"/>
            </a:pPr>
            <a:r>
              <a:rPr lang="en-GB" altLang="en-US" sz="1400">
                <a:cs typeface="Arial" pitchFamily="34" charset="0"/>
              </a:rPr>
              <a:t>Hardware development large barrier to entry for new vendors, constraining innovation &amp; competition.</a:t>
            </a:r>
          </a:p>
          <a:p>
            <a:pPr eaLnBrk="1" hangingPunct="1">
              <a:lnSpc>
                <a:spcPct val="100000"/>
              </a:lnSpc>
              <a:spcBef>
                <a:spcPct val="0"/>
              </a:spcBef>
              <a:buClrTx/>
              <a:buFontTx/>
              <a:buNone/>
            </a:pPr>
            <a:endParaRPr lang="en-GB" altLang="en-US" sz="1400">
              <a:solidFill>
                <a:srgbClr val="558ED5"/>
              </a:solidFill>
              <a:cs typeface="Arial" pitchFamily="34" charset="0"/>
            </a:endParaRPr>
          </a:p>
        </p:txBody>
      </p:sp>
      <p:sp>
        <p:nvSpPr>
          <p:cNvPr id="66" name="Rectangle 65"/>
          <p:cNvSpPr/>
          <p:nvPr/>
        </p:nvSpPr>
        <p:spPr>
          <a:xfrm>
            <a:off x="2627313" y="1812925"/>
            <a:ext cx="1081087" cy="28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a:solidFill>
                <a:srgbClr val="FFFFFF"/>
              </a:solidFill>
            </a:endParaRPr>
          </a:p>
        </p:txBody>
      </p:sp>
      <p:sp>
        <p:nvSpPr>
          <p:cNvPr id="66610" name="Freeform 74"/>
          <p:cNvSpPr>
            <a:spLocks/>
          </p:cNvSpPr>
          <p:nvPr/>
        </p:nvSpPr>
        <p:spPr bwMode="auto">
          <a:xfrm>
            <a:off x="179388" y="1412875"/>
            <a:ext cx="5221287" cy="5221288"/>
          </a:xfrm>
          <a:custGeom>
            <a:avLst/>
            <a:gdLst>
              <a:gd name="T0" fmla="*/ 2147483647 w 3720"/>
              <a:gd name="T1" fmla="*/ 2147483647 h 4354"/>
              <a:gd name="T2" fmla="*/ 2147483647 w 3720"/>
              <a:gd name="T3" fmla="*/ 2147483647 h 4354"/>
              <a:gd name="T4" fmla="*/ 0 w 3720"/>
              <a:gd name="T5" fmla="*/ 2147483647 h 4354"/>
              <a:gd name="T6" fmla="*/ 0 w 3720"/>
              <a:gd name="T7" fmla="*/ 0 h 4354"/>
              <a:gd name="T8" fmla="*/ 2147483647 w 3720"/>
              <a:gd name="T9" fmla="*/ 2147483647 h 4354"/>
              <a:gd name="T10" fmla="*/ 0 60000 65536"/>
              <a:gd name="T11" fmla="*/ 0 60000 65536"/>
              <a:gd name="T12" fmla="*/ 0 60000 65536"/>
              <a:gd name="T13" fmla="*/ 0 60000 65536"/>
              <a:gd name="T14" fmla="*/ 0 60000 65536"/>
              <a:gd name="T15" fmla="*/ 0 w 3720"/>
              <a:gd name="T16" fmla="*/ 0 h 4354"/>
              <a:gd name="T17" fmla="*/ 3720 w 3720"/>
              <a:gd name="T18" fmla="*/ 4354 h 4354"/>
            </a:gdLst>
            <a:ahLst/>
            <a:cxnLst>
              <a:cxn ang="T10">
                <a:pos x="T0" y="T1"/>
              </a:cxn>
              <a:cxn ang="T11">
                <a:pos x="T2" y="T3"/>
              </a:cxn>
              <a:cxn ang="T12">
                <a:pos x="T4" y="T5"/>
              </a:cxn>
              <a:cxn ang="T13">
                <a:pos x="T6" y="T7"/>
              </a:cxn>
              <a:cxn ang="T14">
                <a:pos x="T8" y="T9"/>
              </a:cxn>
            </a:cxnLst>
            <a:rect l="T15" t="T16" r="T17" b="T18"/>
            <a:pathLst>
              <a:path w="3720" h="4354">
                <a:moveTo>
                  <a:pt x="3720" y="17"/>
                </a:moveTo>
                <a:lnTo>
                  <a:pt x="680" y="4354"/>
                </a:lnTo>
                <a:lnTo>
                  <a:pt x="0" y="4354"/>
                </a:lnTo>
                <a:lnTo>
                  <a:pt x="0" y="0"/>
                </a:lnTo>
                <a:lnTo>
                  <a:pt x="3720" y="17"/>
                </a:lnTo>
                <a:close/>
              </a:path>
            </a:pathLst>
          </a:custGeom>
          <a:gradFill rotWithShape="1">
            <a:gsLst>
              <a:gs pos="0">
                <a:srgbClr val="339933">
                  <a:alpha val="49001"/>
                </a:srgbClr>
              </a:gs>
              <a:gs pos="100000">
                <a:srgbClr val="77BB77">
                  <a:alpha val="7999"/>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66611" name="TextBox 41"/>
          <p:cNvSpPr txBox="1">
            <a:spLocks noChangeArrowheads="1"/>
          </p:cNvSpPr>
          <p:nvPr/>
        </p:nvSpPr>
        <p:spPr bwMode="auto">
          <a:xfrm>
            <a:off x="287338" y="1568450"/>
            <a:ext cx="4464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a:cs typeface="Arial" pitchFamily="34" charset="0"/>
              </a:rPr>
              <a:t>Classical Network Appliance Approach</a:t>
            </a:r>
          </a:p>
        </p:txBody>
      </p:sp>
      <p:sp>
        <p:nvSpPr>
          <p:cNvPr id="66612" name="AutoShape 75"/>
          <p:cNvSpPr>
            <a:spLocks noChangeArrowheads="1"/>
          </p:cNvSpPr>
          <p:nvPr/>
        </p:nvSpPr>
        <p:spPr bwMode="auto">
          <a:xfrm rot="16200000" flipH="1">
            <a:off x="2636044" y="-1104107"/>
            <a:ext cx="4981576" cy="57896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129" y="9827"/>
                </a:moveTo>
                <a:cubicBezTo>
                  <a:pt x="18965" y="8423"/>
                  <a:pt x="18449" y="7084"/>
                  <a:pt x="17629" y="5933"/>
                </a:cubicBezTo>
                <a:lnTo>
                  <a:pt x="19595" y="4532"/>
                </a:lnTo>
                <a:cubicBezTo>
                  <a:pt x="20651" y="6014"/>
                  <a:pt x="21315" y="7739"/>
                  <a:pt x="21527" y="9547"/>
                </a:cubicBezTo>
                <a:lnTo>
                  <a:pt x="24208" y="9233"/>
                </a:lnTo>
                <a:lnTo>
                  <a:pt x="20781" y="13568"/>
                </a:lnTo>
                <a:lnTo>
                  <a:pt x="16447" y="10140"/>
                </a:lnTo>
                <a:lnTo>
                  <a:pt x="19129" y="9827"/>
                </a:lnTo>
                <a:close/>
              </a:path>
            </a:pathLst>
          </a:custGeom>
          <a:gradFill rotWithShape="1">
            <a:gsLst>
              <a:gs pos="0">
                <a:srgbClr val="339933">
                  <a:alpha val="49001"/>
                </a:srgbClr>
              </a:gs>
              <a:gs pos="100000">
                <a:srgbClr val="77BB77">
                  <a:alpha val="7999"/>
                </a:srgbClr>
              </a:gs>
            </a:gsLst>
            <a:lin ang="27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n-US"/>
          </a:p>
        </p:txBody>
      </p:sp>
      <p:sp>
        <p:nvSpPr>
          <p:cNvPr id="160821" name="Rectangle 2"/>
          <p:cNvSpPr>
            <a:spLocks noChangeArrowheads="1"/>
          </p:cNvSpPr>
          <p:nvPr/>
        </p:nvSpPr>
        <p:spPr bwMode="auto">
          <a:xfrm>
            <a:off x="457200" y="180975"/>
            <a:ext cx="8229600" cy="1077913"/>
          </a:xfrm>
          <a:prstGeom prst="rect">
            <a:avLst/>
          </a:prstGeom>
          <a:noFill/>
          <a:ln>
            <a:noFill/>
          </a:ln>
          <a:extLst/>
        </p:spPr>
        <p:txBody>
          <a:bodyPr lIns="91408" tIns="45703" rIns="91408" bIns="45703"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auto">
              <a:spcBef>
                <a:spcPct val="0"/>
              </a:spcBef>
              <a:spcAft>
                <a:spcPts val="0"/>
              </a:spcAft>
              <a:buFontTx/>
              <a:buNone/>
              <a:defRPr/>
            </a:pPr>
            <a:endParaRPr lang="en-US" altLang="en-US" sz="4400" dirty="0">
              <a:solidFill>
                <a:schemeClr val="tx2"/>
              </a:solidFill>
              <a:latin typeface="+mj-lt"/>
              <a:ea typeface="+mj-ea"/>
              <a:cs typeface="+mj-cs"/>
            </a:endParaRPr>
          </a:p>
        </p:txBody>
      </p:sp>
      <p:sp>
        <p:nvSpPr>
          <p:cNvPr id="66614" name="Título 45"/>
          <p:cNvSpPr txBox="1">
            <a:spLocks/>
          </p:cNvSpPr>
          <p:nvPr/>
        </p:nvSpPr>
        <p:spPr bwMode="auto">
          <a:xfrm>
            <a:off x="304800" y="427038"/>
            <a:ext cx="6705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nSpc>
                <a:spcPct val="100000"/>
              </a:lnSpc>
              <a:spcBef>
                <a:spcPct val="0"/>
              </a:spcBef>
              <a:buClrTx/>
              <a:buFontTx/>
              <a:buNone/>
            </a:pPr>
            <a:r>
              <a:rPr lang="en-IN" altLang="en-US" sz="2400" b="1">
                <a:solidFill>
                  <a:srgbClr val="6D6E71"/>
                </a:solidFill>
              </a:rPr>
              <a:t>The NFV Concept</a:t>
            </a:r>
          </a:p>
        </p:txBody>
      </p:sp>
      <p:sp>
        <p:nvSpPr>
          <p:cNvPr id="2" name="Rectangle 1"/>
          <p:cNvSpPr>
            <a:spLocks noChangeArrowheads="1"/>
          </p:cNvSpPr>
          <p:nvPr/>
        </p:nvSpPr>
        <p:spPr bwMode="auto">
          <a:xfrm rot="-1661905">
            <a:off x="641350" y="3076575"/>
            <a:ext cx="8083550" cy="64770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a:cs typeface="Arial" pitchFamily="34" charset="0"/>
              </a:rPr>
              <a:t>A means to make the </a:t>
            </a:r>
            <a:r>
              <a:rPr lang="en-GB" altLang="en-US">
                <a:solidFill>
                  <a:srgbClr val="C00000"/>
                </a:solidFill>
                <a:cs typeface="Arial" pitchFamily="34" charset="0"/>
              </a:rPr>
              <a:t>network more flexible and simple by minimising dependence on HW constraints</a:t>
            </a:r>
          </a:p>
        </p:txBody>
      </p:sp>
    </p:spTree>
    <p:extLst>
      <p:ext uri="{BB962C8B-B14F-4D97-AF65-F5344CB8AC3E}">
        <p14:creationId xmlns:p14="http://schemas.microsoft.com/office/powerpoint/2010/main" val="29574484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loud 3"/>
          <p:cNvSpPr/>
          <p:nvPr/>
        </p:nvSpPr>
        <p:spPr>
          <a:xfrm>
            <a:off x="808038" y="1100138"/>
            <a:ext cx="2952750" cy="1547812"/>
          </a:xfrm>
          <a:prstGeom prst="clou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67587" name="TextBox 43"/>
          <p:cNvSpPr txBox="1">
            <a:spLocks noChangeArrowheads="1"/>
          </p:cNvSpPr>
          <p:nvPr/>
        </p:nvSpPr>
        <p:spPr bwMode="auto">
          <a:xfrm>
            <a:off x="304800" y="6140450"/>
            <a:ext cx="3600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r" eaLnBrk="1" hangingPunct="1">
              <a:lnSpc>
                <a:spcPct val="100000"/>
              </a:lnSpc>
              <a:spcBef>
                <a:spcPct val="0"/>
              </a:spcBef>
              <a:buClrTx/>
              <a:buFontTx/>
              <a:buNone/>
            </a:pPr>
            <a:r>
              <a:rPr lang="en-GB" altLang="en-US">
                <a:cs typeface="Arial" pitchFamily="34" charset="0"/>
              </a:rPr>
              <a:t>Network Virtualisation Approach</a:t>
            </a:r>
          </a:p>
        </p:txBody>
      </p:sp>
      <p:pic>
        <p:nvPicPr>
          <p:cNvPr id="67588"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73325" y="16398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89"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925" y="16525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0"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25625" y="16525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1"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0625" y="16398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2"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28925" y="19954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3"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625" y="19827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4" name="Picture 29" descr="ICON_VirtApp_Q109.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43125" y="2008188"/>
            <a:ext cx="49688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5" name="Text Box 30"/>
          <p:cNvSpPr txBox="1">
            <a:spLocks noChangeArrowheads="1"/>
          </p:cNvSpPr>
          <p:nvPr/>
        </p:nvSpPr>
        <p:spPr bwMode="auto">
          <a:xfrm>
            <a:off x="1060450" y="1352550"/>
            <a:ext cx="26828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eaLnBrk="0" hangingPunct="0">
              <a:lnSpc>
                <a:spcPct val="114000"/>
              </a:lnSpc>
              <a:spcBef>
                <a:spcPct val="20000"/>
              </a:spcBef>
              <a:buClr>
                <a:srgbClr val="BF1313"/>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chemeClr val="tx1"/>
                </a:solidFill>
                <a:latin typeface="Arial" pitchFamily="34" charset="0"/>
              </a:defRPr>
            </a:lvl9pPr>
          </a:lstStyle>
          <a:p>
            <a:pPr algn="ctr" eaLnBrk="1" hangingPunct="1">
              <a:lnSpc>
                <a:spcPct val="80000"/>
              </a:lnSpc>
              <a:spcBef>
                <a:spcPct val="0"/>
              </a:spcBef>
              <a:buClr>
                <a:srgbClr val="4D4D4D"/>
              </a:buClr>
              <a:buFontTx/>
              <a:buNone/>
            </a:pPr>
            <a:r>
              <a:rPr lang="en-GB" altLang="en-US" sz="1400">
                <a:cs typeface="Arial" pitchFamily="34" charset="0"/>
              </a:rPr>
              <a:t>Independent Software Vendors</a:t>
            </a:r>
          </a:p>
        </p:txBody>
      </p:sp>
      <p:sp>
        <p:nvSpPr>
          <p:cNvPr id="67596" name="TextBox 45"/>
          <p:cNvSpPr txBox="1">
            <a:spLocks noChangeArrowheads="1"/>
          </p:cNvSpPr>
          <p:nvPr/>
        </p:nvSpPr>
        <p:spPr bwMode="auto">
          <a:xfrm>
            <a:off x="1025525" y="5492750"/>
            <a:ext cx="19764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tandard High Volume</a:t>
            </a:r>
          </a:p>
          <a:p>
            <a:pPr algn="ctr" eaLnBrk="1" hangingPunct="1">
              <a:lnSpc>
                <a:spcPct val="100000"/>
              </a:lnSpc>
              <a:spcBef>
                <a:spcPct val="0"/>
              </a:spcBef>
              <a:buClrTx/>
              <a:buFontTx/>
              <a:buNone/>
            </a:pPr>
            <a:r>
              <a:rPr lang="en-GB" altLang="en-US" sz="1400">
                <a:solidFill>
                  <a:srgbClr val="0070C0"/>
                </a:solidFill>
                <a:cs typeface="Arial" pitchFamily="34" charset="0"/>
              </a:rPr>
              <a:t>Ethernet Switches</a:t>
            </a:r>
          </a:p>
        </p:txBody>
      </p:sp>
      <p:pic>
        <p:nvPicPr>
          <p:cNvPr id="67597" name="Picture 6" descr="http://t1.gstatic.com/images?q=tbn:ANd9GcTUFD7wvOt_9mnoGHjnQK7rpnH3119LecHeYdzsH6mkF4_acWhOh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0650" y="4911725"/>
            <a:ext cx="522288"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8" name="TextBox 45"/>
          <p:cNvSpPr txBox="1">
            <a:spLocks noChangeArrowheads="1"/>
          </p:cNvSpPr>
          <p:nvPr/>
        </p:nvSpPr>
        <p:spPr bwMode="auto">
          <a:xfrm>
            <a:off x="687388" y="4583113"/>
            <a:ext cx="2638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rgbClr val="0070C0"/>
                </a:solidFill>
                <a:cs typeface="Arial" pitchFamily="34" charset="0"/>
              </a:rPr>
              <a:t>Standard High Volume Storage</a:t>
            </a:r>
          </a:p>
        </p:txBody>
      </p:sp>
      <p:sp>
        <p:nvSpPr>
          <p:cNvPr id="67599" name="TextBox 40"/>
          <p:cNvSpPr txBox="1">
            <a:spLocks noChangeArrowheads="1"/>
          </p:cNvSpPr>
          <p:nvPr/>
        </p:nvSpPr>
        <p:spPr bwMode="auto">
          <a:xfrm>
            <a:off x="717550" y="4103688"/>
            <a:ext cx="2628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gn="ctr" eaLnBrk="1" hangingPunct="1">
              <a:lnSpc>
                <a:spcPct val="100000"/>
              </a:lnSpc>
              <a:spcBef>
                <a:spcPct val="0"/>
              </a:spcBef>
              <a:buClrTx/>
              <a:buFontTx/>
              <a:buNone/>
            </a:pPr>
            <a:r>
              <a:rPr lang="en-GB" altLang="en-US" sz="1400">
                <a:solidFill>
                  <a:schemeClr val="accent1"/>
                </a:solidFill>
                <a:cs typeface="Arial" pitchFamily="34" charset="0"/>
              </a:rPr>
              <a:t>Standard High Volume Servers</a:t>
            </a:r>
          </a:p>
        </p:txBody>
      </p:sp>
      <p:pic>
        <p:nvPicPr>
          <p:cNvPr id="6760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8250" y="3548063"/>
            <a:ext cx="874713"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1" name="Picture 86"/>
          <p:cNvPicPr>
            <a:picLocks noChangeAspect="1" noChangeArrowheads="1"/>
          </p:cNvPicPr>
          <p:nvPr/>
        </p:nvPicPr>
        <p:blipFill>
          <a:blip r:embed="rId6">
            <a:extLst>
              <a:ext uri="{28A0092B-C50C-407E-A947-70E740481C1C}">
                <a14:useLocalDpi xmlns:a14="http://schemas.microsoft.com/office/drawing/2010/main" val="0"/>
              </a:ext>
            </a:extLst>
          </a:blip>
          <a:srcRect r="1637"/>
          <a:stretch>
            <a:fillRect/>
          </a:stretch>
        </p:blipFill>
        <p:spPr bwMode="auto">
          <a:xfrm>
            <a:off x="1335088" y="4405313"/>
            <a:ext cx="6334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2" name="Picture 6" descr="http://t1.gstatic.com/images?q=tbn:ANd9GcTUFD7wvOt_9mnoGHjnQK7rpnH3119LecHeYdzsH6mkF4_acWhOh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6463" y="4916488"/>
            <a:ext cx="522287"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4063" y="3552825"/>
            <a:ext cx="8763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4" name="Picture 86"/>
          <p:cNvPicPr>
            <a:picLocks noChangeAspect="1" noChangeArrowheads="1"/>
          </p:cNvPicPr>
          <p:nvPr/>
        </p:nvPicPr>
        <p:blipFill>
          <a:blip r:embed="rId6">
            <a:extLst>
              <a:ext uri="{28A0092B-C50C-407E-A947-70E740481C1C}">
                <a14:useLocalDpi xmlns:a14="http://schemas.microsoft.com/office/drawing/2010/main" val="0"/>
              </a:ext>
            </a:extLst>
          </a:blip>
          <a:srcRect r="1637"/>
          <a:stretch>
            <a:fillRect/>
          </a:stretch>
        </p:blipFill>
        <p:spPr bwMode="auto">
          <a:xfrm>
            <a:off x="2122488" y="4410075"/>
            <a:ext cx="63182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Down Arrow 61"/>
          <p:cNvSpPr/>
          <p:nvPr/>
        </p:nvSpPr>
        <p:spPr>
          <a:xfrm>
            <a:off x="1673225" y="2611438"/>
            <a:ext cx="287338" cy="9366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pic>
        <p:nvPicPr>
          <p:cNvPr id="67606" name="Picture 46" descr="AG00221_"/>
          <p:cNvPicPr>
            <a:picLocks noChangeAspect="1" noChangeArrowheads="1" noCrop="1"/>
          </p:cNvPicPr>
          <p:nvPr/>
        </p:nvPicPr>
        <p:blipFill>
          <a:blip r:embed="rId8">
            <a:extLst>
              <a:ext uri="{28A0092B-C50C-407E-A947-70E740481C1C}">
                <a14:useLocalDpi xmlns:a14="http://schemas.microsoft.com/office/drawing/2010/main" val="0"/>
              </a:ext>
            </a:extLst>
          </a:blip>
          <a:srcRect/>
          <a:stretch>
            <a:fillRect/>
          </a:stretch>
        </p:blipFill>
        <p:spPr bwMode="auto">
          <a:xfrm flipH="1">
            <a:off x="1457325" y="2827338"/>
            <a:ext cx="6223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607" name="TextBox 63"/>
          <p:cNvSpPr txBox="1">
            <a:spLocks noChangeArrowheads="1"/>
          </p:cNvSpPr>
          <p:nvPr/>
        </p:nvSpPr>
        <p:spPr bwMode="auto">
          <a:xfrm>
            <a:off x="2105025" y="2719388"/>
            <a:ext cx="11398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spcBef>
                <a:spcPct val="0"/>
              </a:spcBef>
              <a:buClrTx/>
              <a:buFontTx/>
              <a:buNone/>
            </a:pPr>
            <a:r>
              <a:rPr lang="en-GB" altLang="en-US" sz="1200">
                <a:solidFill>
                  <a:srgbClr val="558ED5"/>
                </a:solidFill>
                <a:cs typeface="Arial" pitchFamily="34" charset="0"/>
              </a:rPr>
              <a:t>Orchestrated,</a:t>
            </a:r>
          </a:p>
          <a:p>
            <a:pPr eaLnBrk="1" hangingPunct="1">
              <a:lnSpc>
                <a:spcPct val="100000"/>
              </a:lnSpc>
              <a:spcBef>
                <a:spcPct val="0"/>
              </a:spcBef>
              <a:buClrTx/>
              <a:buFontTx/>
              <a:buNone/>
            </a:pPr>
            <a:r>
              <a:rPr lang="en-GB" altLang="en-US" sz="1200">
                <a:solidFill>
                  <a:srgbClr val="558ED5"/>
                </a:solidFill>
                <a:cs typeface="Arial" pitchFamily="34" charset="0"/>
              </a:rPr>
              <a:t>automatic &amp;</a:t>
            </a:r>
          </a:p>
          <a:p>
            <a:pPr eaLnBrk="1" hangingPunct="1">
              <a:lnSpc>
                <a:spcPct val="100000"/>
              </a:lnSpc>
              <a:spcBef>
                <a:spcPct val="0"/>
              </a:spcBef>
              <a:buClrTx/>
              <a:buFontTx/>
              <a:buNone/>
            </a:pPr>
            <a:r>
              <a:rPr lang="en-GB" altLang="en-US" sz="1200">
                <a:solidFill>
                  <a:srgbClr val="558ED5"/>
                </a:solidFill>
                <a:cs typeface="Arial" pitchFamily="34" charset="0"/>
              </a:rPr>
              <a:t>remote install.</a:t>
            </a:r>
          </a:p>
        </p:txBody>
      </p:sp>
      <p:sp>
        <p:nvSpPr>
          <p:cNvPr id="160821" name="Rectangle 2"/>
          <p:cNvSpPr>
            <a:spLocks noChangeArrowheads="1"/>
          </p:cNvSpPr>
          <p:nvPr/>
        </p:nvSpPr>
        <p:spPr bwMode="auto">
          <a:xfrm>
            <a:off x="457200" y="180975"/>
            <a:ext cx="8229600" cy="1077913"/>
          </a:xfrm>
          <a:prstGeom prst="rect">
            <a:avLst/>
          </a:prstGeom>
          <a:noFill/>
          <a:ln>
            <a:noFill/>
          </a:ln>
          <a:extLst/>
        </p:spPr>
        <p:txBody>
          <a:bodyPr lIns="91408" tIns="45703" rIns="91408" bIns="45703"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auto">
              <a:spcBef>
                <a:spcPct val="0"/>
              </a:spcBef>
              <a:spcAft>
                <a:spcPts val="0"/>
              </a:spcAft>
              <a:buFontTx/>
              <a:buNone/>
              <a:defRPr/>
            </a:pPr>
            <a:endParaRPr lang="en-US" altLang="en-US" sz="4400" dirty="0">
              <a:solidFill>
                <a:schemeClr val="tx2"/>
              </a:solidFill>
              <a:latin typeface="+mj-lt"/>
              <a:ea typeface="+mj-ea"/>
              <a:cs typeface="+mj-cs"/>
            </a:endParaRPr>
          </a:p>
        </p:txBody>
      </p:sp>
      <p:sp>
        <p:nvSpPr>
          <p:cNvPr id="67609" name="Título 45"/>
          <p:cNvSpPr txBox="1">
            <a:spLocks/>
          </p:cNvSpPr>
          <p:nvPr/>
        </p:nvSpPr>
        <p:spPr bwMode="auto">
          <a:xfrm>
            <a:off x="304800" y="427038"/>
            <a:ext cx="6705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a:lnSpc>
                <a:spcPct val="100000"/>
              </a:lnSpc>
              <a:spcBef>
                <a:spcPct val="0"/>
              </a:spcBef>
              <a:buClrTx/>
              <a:buFontTx/>
              <a:buNone/>
            </a:pPr>
            <a:r>
              <a:rPr lang="en-IN" altLang="en-US" sz="2400" b="1">
                <a:solidFill>
                  <a:srgbClr val="6D6E71"/>
                </a:solidFill>
              </a:rPr>
              <a:t>The NFV Concept</a:t>
            </a:r>
          </a:p>
        </p:txBody>
      </p:sp>
      <p:sp>
        <p:nvSpPr>
          <p:cNvPr id="67610" name="Rounded Rectangle 2"/>
          <p:cNvSpPr>
            <a:spLocks noChangeArrowheads="1"/>
          </p:cNvSpPr>
          <p:nvPr/>
        </p:nvSpPr>
        <p:spPr bwMode="auto">
          <a:xfrm>
            <a:off x="4191000" y="5029200"/>
            <a:ext cx="4572000" cy="815975"/>
          </a:xfrm>
          <a:prstGeom prst="roundRect">
            <a:avLst>
              <a:gd name="adj" fmla="val 16667"/>
            </a:avLst>
          </a:prstGeom>
          <a:solidFill>
            <a:srgbClr val="FFFF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lnSpc>
                <a:spcPct val="114000"/>
              </a:lnSpc>
              <a:spcBef>
                <a:spcPct val="20000"/>
              </a:spcBef>
              <a:buClr>
                <a:srgbClr val="BF1313"/>
              </a:buClr>
              <a:buFont typeface="Wingdings" pitchFamily="2" charset="2"/>
              <a:buChar char="§"/>
              <a:defRPr>
                <a:solidFill>
                  <a:schemeClr val="tx1"/>
                </a:solidFill>
                <a:latin typeface="Arial" pitchFamily="34" charset="0"/>
              </a:defRPr>
            </a:lvl1pPr>
            <a:lvl2pPr marL="742950" indent="-285750" eaLnBrk="0" hangingPunct="0">
              <a:lnSpc>
                <a:spcPct val="114000"/>
              </a:lnSpc>
              <a:spcBef>
                <a:spcPct val="20000"/>
              </a:spcBef>
              <a:buClr>
                <a:srgbClr val="E63700"/>
              </a:buClr>
              <a:buFont typeface="Wingdings" pitchFamily="2" charset="2"/>
              <a:buChar char="§"/>
              <a:defRPr sz="1600">
                <a:solidFill>
                  <a:schemeClr val="tx1"/>
                </a:solidFill>
                <a:latin typeface="Arial" pitchFamily="34" charset="0"/>
              </a:defRPr>
            </a:lvl2pPr>
            <a:lvl3pPr marL="1143000" indent="-228600" eaLnBrk="0" hangingPunct="0">
              <a:lnSpc>
                <a:spcPct val="114000"/>
              </a:lnSpc>
              <a:spcBef>
                <a:spcPct val="20000"/>
              </a:spcBef>
              <a:buClr>
                <a:srgbClr val="FF0000"/>
              </a:buClr>
              <a:buChar char="•"/>
              <a:defRPr sz="1600">
                <a:solidFill>
                  <a:schemeClr val="tx1"/>
                </a:solidFill>
                <a:latin typeface="Arial" pitchFamily="34" charset="0"/>
              </a:defRPr>
            </a:lvl3pPr>
            <a:lvl4pPr marL="16002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4pPr>
            <a:lvl5pPr marL="2057400" indent="-228600" eaLnBrk="0" hangingPunct="0">
              <a:lnSpc>
                <a:spcPct val="114000"/>
              </a:lnSpc>
              <a:spcBef>
                <a:spcPct val="20000"/>
              </a:spcBef>
              <a:buClr>
                <a:srgbClr val="FF0000"/>
              </a:buClr>
              <a:buFont typeface="Arial" pitchFamily="34" charset="0"/>
              <a:buChar char="»"/>
              <a:defRPr sz="1600">
                <a:solidFill>
                  <a:schemeClr val="tx1"/>
                </a:solidFill>
                <a:latin typeface="Arial" pitchFamily="34" charset="0"/>
              </a:defRPr>
            </a:lvl5pPr>
            <a:lvl6pPr marL="25146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6pPr>
            <a:lvl7pPr marL="29718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7pPr>
            <a:lvl8pPr marL="34290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8pPr>
            <a:lvl9pPr marL="3886200" indent="-228600" eaLnBrk="0" fontAlgn="base" hangingPunct="0">
              <a:lnSpc>
                <a:spcPct val="114000"/>
              </a:lnSpc>
              <a:spcBef>
                <a:spcPct val="20000"/>
              </a:spcBef>
              <a:spcAft>
                <a:spcPct val="0"/>
              </a:spcAft>
              <a:buClr>
                <a:srgbClr val="FF0000"/>
              </a:buClr>
              <a:buFont typeface="Arial" pitchFamily="34" charset="0"/>
              <a:buChar char="»"/>
              <a:defRPr sz="1600">
                <a:solidFill>
                  <a:schemeClr val="tx1"/>
                </a:solidFill>
                <a:latin typeface="Arial" pitchFamily="34" charset="0"/>
              </a:defRPr>
            </a:lvl9pPr>
          </a:lstStyle>
          <a:p>
            <a:pPr eaLnBrk="1" hangingPunct="1">
              <a:lnSpc>
                <a:spcPct val="100000"/>
              </a:lnSpc>
              <a:buSzPct val="200000"/>
              <a:buFontTx/>
              <a:buNone/>
            </a:pPr>
            <a:r>
              <a:rPr lang="en-US" altLang="en-US" sz="2400"/>
              <a:t>Commodity X86 Hardware</a:t>
            </a:r>
          </a:p>
        </p:txBody>
      </p:sp>
      <p:sp>
        <p:nvSpPr>
          <p:cNvPr id="57" name="Rounded Rectangle 56"/>
          <p:cNvSpPr/>
          <p:nvPr/>
        </p:nvSpPr>
        <p:spPr bwMode="auto">
          <a:xfrm>
            <a:off x="4191000" y="4060825"/>
            <a:ext cx="4572000" cy="815975"/>
          </a:xfrm>
          <a:prstGeom prst="roundRect">
            <a:avLst/>
          </a:prstGeom>
          <a:solidFill>
            <a:schemeClr val="bg2">
              <a:lumMod val="5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sz="2400" dirty="0">
                <a:latin typeface="Arial" charset="0"/>
              </a:rPr>
              <a:t>Hypervisor </a:t>
            </a:r>
          </a:p>
        </p:txBody>
      </p:sp>
      <p:sp>
        <p:nvSpPr>
          <p:cNvPr id="5" name="Flowchart: Magnetic Disk 4"/>
          <p:cNvSpPr/>
          <p:nvPr/>
        </p:nvSpPr>
        <p:spPr bwMode="auto">
          <a:xfrm>
            <a:off x="4191000" y="3136900"/>
            <a:ext cx="1066800" cy="738188"/>
          </a:xfrm>
          <a:prstGeom prst="flowChartMagneticDisk">
            <a:avLst/>
          </a:prstGeom>
          <a:solidFill>
            <a:schemeClr val="tx2">
              <a:lumMod val="40000"/>
              <a:lumOff val="6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sz="2400" dirty="0">
                <a:latin typeface="Arial" charset="0"/>
              </a:rPr>
              <a:t>VM</a:t>
            </a:r>
          </a:p>
        </p:txBody>
      </p:sp>
      <p:sp>
        <p:nvSpPr>
          <p:cNvPr id="59" name="Flowchart: Magnetic Disk 58"/>
          <p:cNvSpPr/>
          <p:nvPr/>
        </p:nvSpPr>
        <p:spPr bwMode="auto">
          <a:xfrm>
            <a:off x="5410200" y="3124200"/>
            <a:ext cx="1066800" cy="738188"/>
          </a:xfrm>
          <a:prstGeom prst="flowChartMagneticDisk">
            <a:avLst/>
          </a:prstGeom>
          <a:solidFill>
            <a:schemeClr val="tx2">
              <a:lumMod val="40000"/>
              <a:lumOff val="6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sz="2400" dirty="0">
                <a:latin typeface="Arial" charset="0"/>
              </a:rPr>
              <a:t>VM</a:t>
            </a:r>
          </a:p>
        </p:txBody>
      </p:sp>
      <p:sp>
        <p:nvSpPr>
          <p:cNvPr id="60" name="Flowchart: Magnetic Disk 59"/>
          <p:cNvSpPr/>
          <p:nvPr/>
        </p:nvSpPr>
        <p:spPr bwMode="auto">
          <a:xfrm>
            <a:off x="6629400" y="3124200"/>
            <a:ext cx="1066800" cy="738188"/>
          </a:xfrm>
          <a:prstGeom prst="flowChartMagneticDisk">
            <a:avLst/>
          </a:prstGeom>
          <a:solidFill>
            <a:schemeClr val="tx2">
              <a:lumMod val="40000"/>
              <a:lumOff val="6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sz="2400" dirty="0">
                <a:latin typeface="Arial" charset="0"/>
              </a:rPr>
              <a:t>VM</a:t>
            </a:r>
          </a:p>
        </p:txBody>
      </p:sp>
      <p:sp>
        <p:nvSpPr>
          <p:cNvPr id="61" name="Flowchart: Magnetic Disk 60"/>
          <p:cNvSpPr/>
          <p:nvPr/>
        </p:nvSpPr>
        <p:spPr bwMode="auto">
          <a:xfrm>
            <a:off x="7772400" y="3124200"/>
            <a:ext cx="1066800" cy="738188"/>
          </a:xfrm>
          <a:prstGeom prst="flowChartMagneticDisk">
            <a:avLst/>
          </a:prstGeom>
          <a:solidFill>
            <a:schemeClr val="tx2">
              <a:lumMod val="40000"/>
              <a:lumOff val="6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sz="2400" dirty="0">
                <a:latin typeface="Arial" charset="0"/>
              </a:rPr>
              <a:t>VM</a:t>
            </a:r>
          </a:p>
        </p:txBody>
      </p:sp>
      <p:sp>
        <p:nvSpPr>
          <p:cNvPr id="6" name="Oval 5"/>
          <p:cNvSpPr/>
          <p:nvPr/>
        </p:nvSpPr>
        <p:spPr bwMode="auto">
          <a:xfrm>
            <a:off x="4191000" y="2119313"/>
            <a:ext cx="1524000" cy="492125"/>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dirty="0">
                <a:latin typeface="Arial" charset="0"/>
              </a:rPr>
              <a:t>Routing</a:t>
            </a:r>
          </a:p>
        </p:txBody>
      </p:sp>
      <p:sp>
        <p:nvSpPr>
          <p:cNvPr id="63" name="Oval 62"/>
          <p:cNvSpPr/>
          <p:nvPr/>
        </p:nvSpPr>
        <p:spPr bwMode="auto">
          <a:xfrm>
            <a:off x="5562600" y="1752600"/>
            <a:ext cx="1524000" cy="492125"/>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dirty="0">
                <a:latin typeface="Arial" charset="0"/>
              </a:rPr>
              <a:t>Firewall</a:t>
            </a:r>
          </a:p>
        </p:txBody>
      </p:sp>
      <p:sp>
        <p:nvSpPr>
          <p:cNvPr id="64" name="Oval 63"/>
          <p:cNvSpPr/>
          <p:nvPr/>
        </p:nvSpPr>
        <p:spPr bwMode="auto">
          <a:xfrm>
            <a:off x="6553200" y="2174875"/>
            <a:ext cx="1524000" cy="492125"/>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dirty="0">
                <a:latin typeface="Arial" charset="0"/>
              </a:rPr>
              <a:t>Proxy</a:t>
            </a:r>
          </a:p>
        </p:txBody>
      </p:sp>
      <p:sp>
        <p:nvSpPr>
          <p:cNvPr id="65" name="Oval 64"/>
          <p:cNvSpPr/>
          <p:nvPr/>
        </p:nvSpPr>
        <p:spPr bwMode="auto">
          <a:xfrm>
            <a:off x="7315200" y="1600200"/>
            <a:ext cx="1524000" cy="492125"/>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a:lstStyle/>
          <a:p>
            <a:pPr>
              <a:spcBef>
                <a:spcPct val="20000"/>
              </a:spcBef>
              <a:buClr>
                <a:srgbClr val="BF1313"/>
              </a:buClr>
              <a:buSzPct val="200000"/>
              <a:defRPr/>
            </a:pPr>
            <a:r>
              <a:rPr lang="en-US" dirty="0">
                <a:latin typeface="Arial" charset="0"/>
              </a:rPr>
              <a:t>DPI</a:t>
            </a:r>
          </a:p>
        </p:txBody>
      </p:sp>
      <p:sp>
        <p:nvSpPr>
          <p:cNvPr id="7" name="Right Arrow 6"/>
          <p:cNvSpPr/>
          <p:nvPr/>
        </p:nvSpPr>
        <p:spPr bwMode="auto">
          <a:xfrm>
            <a:off x="3244850" y="3657600"/>
            <a:ext cx="842963" cy="503238"/>
          </a:xfrm>
          <a:prstGeom prst="rightArrow">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342900" indent="-342900">
              <a:spcBef>
                <a:spcPct val="20000"/>
              </a:spcBef>
              <a:buClr>
                <a:srgbClr val="BF1313"/>
              </a:buClr>
              <a:buSzPct val="200000"/>
              <a:buFont typeface="Wingdings 3" pitchFamily="18" charset="2"/>
              <a:buChar char="Ú"/>
              <a:defRPr/>
            </a:pPr>
            <a:endParaRPr lang="en-US" sz="2400">
              <a:latin typeface="Arial" charset="0"/>
            </a:endParaRPr>
          </a:p>
        </p:txBody>
      </p:sp>
    </p:spTree>
    <p:extLst>
      <p:ext uri="{BB962C8B-B14F-4D97-AF65-F5344CB8AC3E}">
        <p14:creationId xmlns:p14="http://schemas.microsoft.com/office/powerpoint/2010/main" val="4283478455"/>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p:txBody>
          <a:bodyPr/>
          <a:lstStyle/>
          <a:p>
            <a:r>
              <a:rPr smtClean="0"/>
              <a:t>Network Virtualization</a:t>
            </a:r>
          </a:p>
        </p:txBody>
      </p:sp>
      <p:sp>
        <p:nvSpPr>
          <p:cNvPr id="79875" name="Content Placeholder 2"/>
          <p:cNvSpPr>
            <a:spLocks noGrp="1"/>
          </p:cNvSpPr>
          <p:nvPr>
            <p:ph idx="1"/>
          </p:nvPr>
        </p:nvSpPr>
        <p:spPr>
          <a:xfrm>
            <a:off x="670560" y="1557973"/>
            <a:ext cx="8016240" cy="3724096"/>
          </a:xfrm>
        </p:spPr>
        <p:txBody>
          <a:bodyPr/>
          <a:lstStyle/>
          <a:p>
            <a:r>
              <a:rPr lang="en-US" altLang="en-US" dirty="0" smtClean="0"/>
              <a:t>Network functions that can be virtualized are</a:t>
            </a:r>
          </a:p>
          <a:p>
            <a:pPr lvl="3">
              <a:buFont typeface="Wingdings" pitchFamily="2" charset="2"/>
              <a:buChar char="Ø"/>
            </a:pPr>
            <a:r>
              <a:rPr lang="en-US" altLang="en-US" dirty="0" smtClean="0"/>
              <a:t>Routing </a:t>
            </a:r>
          </a:p>
          <a:p>
            <a:pPr lvl="3">
              <a:buFont typeface="Wingdings" pitchFamily="2" charset="2"/>
              <a:buChar char="Ø"/>
            </a:pPr>
            <a:r>
              <a:rPr lang="en-US" altLang="en-US" dirty="0" smtClean="0"/>
              <a:t>Policy management </a:t>
            </a:r>
          </a:p>
          <a:p>
            <a:pPr lvl="3">
              <a:buFont typeface="Wingdings" pitchFamily="2" charset="2"/>
              <a:buChar char="Ø"/>
            </a:pPr>
            <a:r>
              <a:rPr lang="en-US" altLang="en-US" dirty="0" smtClean="0"/>
              <a:t>Security</a:t>
            </a:r>
          </a:p>
          <a:p>
            <a:pPr lvl="3">
              <a:buFont typeface="Wingdings" pitchFamily="2" charset="2"/>
              <a:buChar char="Ø"/>
            </a:pPr>
            <a:r>
              <a:rPr lang="en-US" altLang="en-US" dirty="0" smtClean="0"/>
              <a:t>Traffic Management</a:t>
            </a:r>
          </a:p>
          <a:p>
            <a:pPr lvl="3">
              <a:buFont typeface="Wingdings" pitchFamily="2" charset="2"/>
              <a:buChar char="Ø"/>
            </a:pPr>
            <a:r>
              <a:rPr lang="en-US" altLang="en-US" dirty="0" smtClean="0"/>
              <a:t>Load balancing </a:t>
            </a:r>
          </a:p>
          <a:p>
            <a:pPr lvl="3">
              <a:buFont typeface="Wingdings" pitchFamily="2" charset="2"/>
              <a:buChar char="Ø"/>
            </a:pPr>
            <a:r>
              <a:rPr lang="en-US" altLang="en-US" dirty="0" err="1" smtClean="0"/>
              <a:t>QoS</a:t>
            </a:r>
            <a:endParaRPr lang="en-US" altLang="en-US" dirty="0" smtClean="0"/>
          </a:p>
          <a:p>
            <a:pPr lvl="3">
              <a:buFont typeface="Wingdings" pitchFamily="2" charset="2"/>
              <a:buChar char="Ø"/>
            </a:pPr>
            <a:r>
              <a:rPr lang="en-US" altLang="en-US" dirty="0" smtClean="0"/>
              <a:t>Network Address Translation</a:t>
            </a:r>
          </a:p>
          <a:p>
            <a:pPr lvl="3">
              <a:buFont typeface="Wingdings" pitchFamily="2" charset="2"/>
              <a:buChar char="Ø"/>
            </a:pPr>
            <a:r>
              <a:rPr lang="en-US" altLang="en-US" dirty="0" smtClean="0"/>
              <a:t>Device Management</a:t>
            </a:r>
          </a:p>
          <a:p>
            <a:pPr lvl="3">
              <a:buFont typeface="Wingdings" pitchFamily="2" charset="2"/>
              <a:buChar char="Ø"/>
            </a:pPr>
            <a:r>
              <a:rPr lang="en-US" altLang="en-US" dirty="0" smtClean="0"/>
              <a:t>Media Streaming</a:t>
            </a:r>
          </a:p>
          <a:p>
            <a:pPr lvl="3">
              <a:buFont typeface="Wingdings" pitchFamily="2" charset="2"/>
              <a:buChar char="Ø"/>
            </a:pPr>
            <a:r>
              <a:rPr lang="en-US" altLang="en-US" dirty="0" smtClean="0"/>
              <a:t>Identity Management</a:t>
            </a:r>
          </a:p>
        </p:txBody>
      </p:sp>
    </p:spTree>
    <p:extLst>
      <p:ext uri="{BB962C8B-B14F-4D97-AF65-F5344CB8AC3E}">
        <p14:creationId xmlns:p14="http://schemas.microsoft.com/office/powerpoint/2010/main" val="1585921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55845" y="2279176"/>
            <a:ext cx="5759356" cy="67710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rgbClr val="6D6E71"/>
              </a:buClr>
            </a:pPr>
            <a:r>
              <a:rPr lang="en-US" sz="4400" b="1" dirty="0">
                <a:solidFill>
                  <a:srgbClr val="FF0000"/>
                </a:solidFill>
              </a:rPr>
              <a:t>Security in </a:t>
            </a:r>
            <a:r>
              <a:rPr lang="en-US" sz="4400" b="1" dirty="0" smtClean="0">
                <a:solidFill>
                  <a:srgbClr val="FF0000"/>
                </a:solidFill>
              </a:rPr>
              <a:t>The </a:t>
            </a:r>
            <a:r>
              <a:rPr lang="en-US" sz="4400" b="1" dirty="0">
                <a:solidFill>
                  <a:srgbClr val="FF0000"/>
                </a:solidFill>
              </a:rPr>
              <a:t>Cloud</a:t>
            </a:r>
            <a:endParaRPr lang="en-US" b="1" dirty="0" smtClean="0">
              <a:solidFill>
                <a:srgbClr val="FF0000"/>
              </a:solidFill>
            </a:endParaRPr>
          </a:p>
        </p:txBody>
      </p:sp>
    </p:spTree>
    <p:extLst>
      <p:ext uri="{BB962C8B-B14F-4D97-AF65-F5344CB8AC3E}">
        <p14:creationId xmlns:p14="http://schemas.microsoft.com/office/powerpoint/2010/main" val="7332555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C:\Users\bk0c41241\Pictures\cloudsecurit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8608" y="2011679"/>
            <a:ext cx="980764" cy="977495"/>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p:cNvSpPr txBox="1">
            <a:spLocks/>
          </p:cNvSpPr>
          <p:nvPr/>
        </p:nvSpPr>
        <p:spPr>
          <a:xfrm>
            <a:off x="671221" y="569913"/>
            <a:ext cx="7529945" cy="1006639"/>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IN" sz="3200" dirty="0" smtClean="0">
                <a:solidFill>
                  <a:srgbClr val="6D6E71"/>
                </a:solidFill>
              </a:rPr>
              <a:t>Shared </a:t>
            </a:r>
            <a:r>
              <a:rPr lang="en-IN" sz="3200" dirty="0">
                <a:solidFill>
                  <a:srgbClr val="6D6E71"/>
                </a:solidFill>
              </a:rPr>
              <a:t>Responsibility Security </a:t>
            </a:r>
            <a:r>
              <a:rPr lang="en-IN" sz="3200" dirty="0" smtClean="0">
                <a:solidFill>
                  <a:srgbClr val="6D6E71"/>
                </a:solidFill>
              </a:rPr>
              <a:t>Model</a:t>
            </a:r>
            <a:endParaRPr lang="en-IN" sz="3200" dirty="0">
              <a:solidFill>
                <a:srgbClr val="6D6E71"/>
              </a:solidFill>
            </a:endParaRPr>
          </a:p>
        </p:txBody>
      </p:sp>
      <p:pic>
        <p:nvPicPr>
          <p:cNvPr id="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341" t="13855" r="2245" b="6922"/>
          <a:stretch/>
        </p:blipFill>
        <p:spPr bwMode="auto">
          <a:xfrm>
            <a:off x="838200" y="3222471"/>
            <a:ext cx="7437120" cy="2934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516900" y="1325879"/>
            <a:ext cx="5813539" cy="1664247"/>
            <a:chOff x="-380270" y="3971672"/>
            <a:chExt cx="6910385" cy="958896"/>
          </a:xfrm>
        </p:grpSpPr>
        <p:sp>
          <p:nvSpPr>
            <p:cNvPr id="8" name="Snip Single Corner Rectangle 7"/>
            <p:cNvSpPr/>
            <p:nvPr/>
          </p:nvSpPr>
          <p:spPr>
            <a:xfrm rot="10800000" flipH="1">
              <a:off x="-380270" y="3971672"/>
              <a:ext cx="6910385" cy="958896"/>
            </a:xfrm>
            <a:prstGeom prst="snip1Rect">
              <a:avLst>
                <a:gd name="adj" fmla="val 50000"/>
              </a:avLst>
            </a:prstGeom>
            <a:solidFill>
              <a:srgbClr val="C2D8DC"/>
            </a:solidFill>
            <a:ln w="571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endParaRPr lang="en-US" dirty="0">
                <a:solidFill>
                  <a:prstClr val="black"/>
                </a:solidFill>
              </a:endParaRPr>
            </a:p>
          </p:txBody>
        </p:sp>
        <p:sp>
          <p:nvSpPr>
            <p:cNvPr id="9" name="TextBox 8"/>
            <p:cNvSpPr txBox="1"/>
            <p:nvPr/>
          </p:nvSpPr>
          <p:spPr>
            <a:xfrm>
              <a:off x="-284486" y="4119955"/>
              <a:ext cx="6202837" cy="6383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285750" indent="-285750" fontAlgn="base">
                <a:buClr>
                  <a:srgbClr val="0066FF"/>
                </a:buClr>
                <a:buFont typeface="Wingdings" pitchFamily="2" charset="2"/>
                <a:buChar char="ü"/>
              </a:pPr>
              <a:r>
                <a:rPr lang="en-IN" dirty="0">
                  <a:solidFill>
                    <a:prstClr val="black"/>
                  </a:solidFill>
                </a:rPr>
                <a:t>The Shared Responsibility Security Model</a:t>
              </a:r>
            </a:p>
            <a:p>
              <a:pPr marL="742950" lvl="1" indent="-285750" fontAlgn="base">
                <a:buClr>
                  <a:srgbClr val="0066FF"/>
                </a:buClr>
                <a:buFont typeface="Wingdings" pitchFamily="2" charset="2"/>
                <a:buChar char="§"/>
              </a:pPr>
              <a:r>
                <a:rPr lang="en-IN" dirty="0" smtClean="0">
                  <a:solidFill>
                    <a:prstClr val="black"/>
                  </a:solidFill>
                </a:rPr>
                <a:t>Cloud </a:t>
              </a:r>
              <a:r>
                <a:rPr lang="en-IN" dirty="0">
                  <a:solidFill>
                    <a:prstClr val="black"/>
                  </a:solidFill>
                </a:rPr>
                <a:t>Service Provider’s role in </a:t>
              </a:r>
              <a:r>
                <a:rPr lang="en-IN" dirty="0" smtClean="0">
                  <a:solidFill>
                    <a:prstClr val="black"/>
                  </a:solidFill>
                </a:rPr>
                <a:t>security</a:t>
              </a:r>
              <a:endParaRPr lang="en-IN" dirty="0">
                <a:solidFill>
                  <a:prstClr val="black"/>
                </a:solidFill>
              </a:endParaRPr>
            </a:p>
            <a:p>
              <a:pPr marL="742950" lvl="1" indent="-285750" fontAlgn="base">
                <a:buClr>
                  <a:srgbClr val="0066FF"/>
                </a:buClr>
                <a:buFont typeface="Wingdings" pitchFamily="2" charset="2"/>
                <a:buChar char="§"/>
              </a:pPr>
              <a:r>
                <a:rPr lang="en-IN" dirty="0" smtClean="0">
                  <a:solidFill>
                    <a:prstClr val="black"/>
                  </a:solidFill>
                </a:rPr>
                <a:t>Subscriber </a:t>
              </a:r>
              <a:r>
                <a:rPr lang="en-IN" dirty="0">
                  <a:solidFill>
                    <a:prstClr val="black"/>
                  </a:solidFill>
                </a:rPr>
                <a:t>/ User’s role in </a:t>
              </a:r>
              <a:r>
                <a:rPr lang="en-IN" dirty="0" smtClean="0">
                  <a:solidFill>
                    <a:prstClr val="black"/>
                  </a:solidFill>
                </a:rPr>
                <a:t>security</a:t>
              </a:r>
              <a:endParaRPr lang="en-IN" dirty="0">
                <a:solidFill>
                  <a:prstClr val="black"/>
                </a:solidFill>
              </a:endParaRPr>
            </a:p>
            <a:p>
              <a:pPr marL="742950" lvl="1" indent="-285750" fontAlgn="base">
                <a:buClr>
                  <a:srgbClr val="0066FF"/>
                </a:buClr>
                <a:buFont typeface="Wingdings" pitchFamily="2" charset="2"/>
                <a:buChar char="§"/>
              </a:pPr>
              <a:r>
                <a:rPr lang="en-IN" dirty="0" smtClean="0">
                  <a:solidFill>
                    <a:prstClr val="black"/>
                  </a:solidFill>
                </a:rPr>
                <a:t>Securing networks </a:t>
              </a:r>
              <a:r>
                <a:rPr lang="en-IN" dirty="0">
                  <a:solidFill>
                    <a:prstClr val="black"/>
                  </a:solidFill>
                </a:rPr>
                <a:t>with </a:t>
              </a:r>
              <a:r>
                <a:rPr lang="en-IN" dirty="0" smtClean="0">
                  <a:solidFill>
                    <a:prstClr val="black"/>
                  </a:solidFill>
                </a:rPr>
                <a:t>security groups</a:t>
              </a:r>
              <a:endParaRPr lang="en-IN" dirty="0">
                <a:solidFill>
                  <a:prstClr val="black"/>
                </a:solidFill>
              </a:endParaRPr>
            </a:p>
          </p:txBody>
        </p:sp>
      </p:grpSp>
    </p:spTree>
    <p:extLst>
      <p:ext uri="{BB962C8B-B14F-4D97-AF65-F5344CB8AC3E}">
        <p14:creationId xmlns:p14="http://schemas.microsoft.com/office/powerpoint/2010/main" val="1309045265"/>
      </p:ext>
    </p:extLst>
  </p:cSld>
  <p:clrMapOvr>
    <a:masterClrMapping/>
  </p:clrMapOvr>
  <p:transition spd="slow">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8208160"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lgn="ctr">
              <a:defRPr/>
            </a:pPr>
            <a:r>
              <a:rPr lang="en-IN" sz="3200" dirty="0" smtClean="0">
                <a:solidFill>
                  <a:srgbClr val="6D6E71"/>
                </a:solidFill>
              </a:rPr>
              <a:t>CSP &amp; Customer Responsibility</a:t>
            </a:r>
            <a:endParaRPr sz="3200" dirty="0">
              <a:solidFill>
                <a:srgbClr val="6D6E71"/>
              </a:solidFill>
            </a:endParaRPr>
          </a:p>
        </p:txBody>
      </p:sp>
      <p:sp>
        <p:nvSpPr>
          <p:cNvPr id="5" name="Content Placeholder 2"/>
          <p:cNvSpPr txBox="1">
            <a:spLocks/>
          </p:cNvSpPr>
          <p:nvPr>
            <p:custDataLst>
              <p:tags r:id="rId1"/>
            </p:custDataLst>
          </p:nvPr>
        </p:nvSpPr>
        <p:spPr bwMode="gray">
          <a:xfrm>
            <a:off x="671221" y="1353681"/>
            <a:ext cx="3824579" cy="2769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SzPct val="120000"/>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rtl="0" eaLnBrk="0" fontAlgn="base" hangingPunct="0">
              <a:spcBef>
                <a:spcPct val="0"/>
              </a:spcBef>
              <a:spcAft>
                <a:spcPct val="0"/>
              </a:spcAft>
              <a:buClr>
                <a:schemeClr val="bg2"/>
              </a:buClr>
              <a:buSzPct val="100000"/>
              <a:buFont typeface="Wingdings" pitchFamily="2" charset="2"/>
              <a:buNone/>
              <a:defRPr lang="en-US" kern="1200">
                <a:solidFill>
                  <a:schemeClr val="tx1">
                    <a:tint val="75000"/>
                  </a:schemeClr>
                </a:solidFill>
                <a:latin typeface="+mn-lt"/>
                <a:ea typeface="+mn-ea"/>
                <a:cs typeface="Arial" charset="0"/>
              </a:defRPr>
            </a:lvl2pPr>
            <a:lvl3pPr marL="914400" indent="0" algn="ctr" rtl="0" eaLnBrk="0" fontAlgn="base" hangingPunct="0">
              <a:spcBef>
                <a:spcPct val="0"/>
              </a:spcBef>
              <a:spcAft>
                <a:spcPct val="0"/>
              </a:spcAft>
              <a:buClr>
                <a:schemeClr val="bg2"/>
              </a:buClr>
              <a:buSzPct val="90000"/>
              <a:buFont typeface="Arial" charset="0"/>
              <a:buNone/>
              <a:defRPr lang="en-US" kern="1200">
                <a:solidFill>
                  <a:schemeClr val="tx1">
                    <a:tint val="75000"/>
                  </a:schemeClr>
                </a:solidFill>
                <a:latin typeface="Arial" pitchFamily="34" charset="0"/>
                <a:ea typeface="+mn-ea"/>
                <a:cs typeface="Arial" pitchFamily="34" charset="0"/>
              </a:defRPr>
            </a:lvl3pPr>
            <a:lvl4pPr marL="1371600" indent="0" algn="ctr" rtl="0" eaLnBrk="0" fontAlgn="base" hangingPunct="0">
              <a:spcBef>
                <a:spcPct val="0"/>
              </a:spcBef>
              <a:spcAft>
                <a:spcPct val="0"/>
              </a:spcAft>
              <a:buClr>
                <a:schemeClr val="bg2"/>
              </a:buClr>
              <a:buSzPct val="80000"/>
              <a:buFont typeface="Wingdings" pitchFamily="2" charset="2"/>
              <a:buNone/>
              <a:defRPr lang="en-US" kern="1200">
                <a:solidFill>
                  <a:schemeClr val="tx1">
                    <a:tint val="75000"/>
                  </a:schemeClr>
                </a:solidFill>
                <a:latin typeface="Arial" pitchFamily="34" charset="0"/>
                <a:ea typeface="+mn-ea"/>
                <a:cs typeface="Arial" charset="0"/>
              </a:defRPr>
            </a:lvl4pPr>
            <a:lvl5pPr marL="1828800" indent="0" algn="ctr" defTabSz="933450" rtl="0" eaLnBrk="0" fontAlgn="base" hangingPunct="0">
              <a:spcBef>
                <a:spcPct val="0"/>
              </a:spcBef>
              <a:spcAft>
                <a:spcPct val="0"/>
              </a:spcAft>
              <a:buClr>
                <a:schemeClr val="bg2"/>
              </a:buClr>
              <a:buSzPct val="70000"/>
              <a:buFont typeface="Arial" charset="0"/>
              <a:buNone/>
              <a:defRPr lang="en-US" kern="1200">
                <a:solidFill>
                  <a:schemeClr val="tx1">
                    <a:tint val="75000"/>
                  </a:schemeClr>
                </a:solidFill>
                <a:latin typeface="Arial" pitchFamily="34" charset="0"/>
                <a:ea typeface="+mn-ea"/>
                <a:cs typeface="Arial" charset="0"/>
              </a:defRPr>
            </a:lvl5pPr>
            <a:lvl6pPr marL="2286000" indent="0" algn="ctr" defTabSz="914400" rtl="0" eaLnBrk="1" latinLnBrk="0" hangingPunct="1">
              <a:spcBef>
                <a:spcPct val="20000"/>
              </a:spcBef>
              <a:buClr>
                <a:schemeClr val="bg2"/>
              </a:buClr>
              <a:buSzPct val="60000"/>
              <a:buFont typeface="Wingdings" pitchFamily="2" charset="2"/>
              <a:buNone/>
              <a:defRPr sz="2000" kern="1200">
                <a:solidFill>
                  <a:schemeClr val="tx1">
                    <a:tint val="75000"/>
                  </a:schemeClr>
                </a:solidFill>
                <a:latin typeface="Arial" pitchFamily="34" charset="0"/>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buClr>
                <a:srgbClr val="6D6E71"/>
              </a:buClr>
              <a:defRPr/>
            </a:pPr>
            <a:r>
              <a:rPr lang="en-IN" i="1" dirty="0">
                <a:solidFill>
                  <a:prstClr val="black"/>
                </a:solidFill>
                <a:latin typeface="Arial"/>
                <a:cs typeface="Calibri" pitchFamily="34" charset="0"/>
              </a:rPr>
              <a:t>CSP responsible for </a:t>
            </a:r>
            <a:r>
              <a:rPr lang="en-IN" i="1" dirty="0" smtClean="0">
                <a:solidFill>
                  <a:prstClr val="black"/>
                </a:solidFill>
                <a:latin typeface="Arial"/>
                <a:cs typeface="Calibri" pitchFamily="34" charset="0"/>
              </a:rPr>
              <a:t>securing:</a:t>
            </a:r>
          </a:p>
        </p:txBody>
      </p:sp>
      <p:graphicFrame>
        <p:nvGraphicFramePr>
          <p:cNvPr id="13" name="Diagram 12"/>
          <p:cNvGraphicFramePr/>
          <p:nvPr>
            <p:extLst>
              <p:ext uri="{D42A27DB-BD31-4B8C-83A1-F6EECF244321}">
                <p14:modId xmlns:p14="http://schemas.microsoft.com/office/powerpoint/2010/main" val="2326399195"/>
              </p:ext>
            </p:extLst>
          </p:nvPr>
        </p:nvGraphicFramePr>
        <p:xfrm>
          <a:off x="671221" y="1806903"/>
          <a:ext cx="3855059"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6" name="Group 5"/>
          <p:cNvGrpSpPr/>
          <p:nvPr/>
        </p:nvGrpSpPr>
        <p:grpSpPr>
          <a:xfrm>
            <a:off x="4905893" y="1905000"/>
            <a:ext cx="3908762" cy="3783724"/>
            <a:chOff x="669173" y="1749972"/>
            <a:chExt cx="3908762" cy="3466312"/>
          </a:xfrm>
        </p:grpSpPr>
        <p:sp>
          <p:nvSpPr>
            <p:cNvPr id="7" name="Rectangle 6"/>
            <p:cNvSpPr/>
            <p:nvPr/>
          </p:nvSpPr>
          <p:spPr>
            <a:xfrm>
              <a:off x="1286095" y="1749972"/>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Operating system </a:t>
              </a:r>
              <a:r>
                <a:rPr lang="en-US" dirty="0" smtClean="0"/>
                <a:t> </a:t>
              </a:r>
              <a:endParaRPr lang="en-US" dirty="0"/>
            </a:p>
          </p:txBody>
        </p:sp>
        <p:sp>
          <p:nvSpPr>
            <p:cNvPr id="8" name="Rectangle 7"/>
            <p:cNvSpPr/>
            <p:nvPr/>
          </p:nvSpPr>
          <p:spPr>
            <a:xfrm>
              <a:off x="671221" y="2268132"/>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Application</a:t>
              </a:r>
            </a:p>
          </p:txBody>
        </p:sp>
        <p:sp>
          <p:nvSpPr>
            <p:cNvPr id="9" name="Rectangle 8"/>
            <p:cNvSpPr/>
            <p:nvPr/>
          </p:nvSpPr>
          <p:spPr>
            <a:xfrm>
              <a:off x="1286095" y="2814671"/>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Security groups </a:t>
              </a:r>
            </a:p>
          </p:txBody>
        </p:sp>
        <p:sp>
          <p:nvSpPr>
            <p:cNvPr id="10" name="Rectangle 9"/>
            <p:cNvSpPr/>
            <p:nvPr/>
          </p:nvSpPr>
          <p:spPr>
            <a:xfrm>
              <a:off x="671219" y="3321268"/>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OS </a:t>
              </a:r>
              <a:r>
                <a:rPr lang="en-US" dirty="0" smtClean="0"/>
                <a:t>firewalls </a:t>
              </a:r>
              <a:endParaRPr lang="en-US" dirty="0"/>
            </a:p>
          </p:txBody>
        </p:sp>
        <p:sp>
          <p:nvSpPr>
            <p:cNvPr id="11" name="Rectangle 10"/>
            <p:cNvSpPr/>
            <p:nvPr/>
          </p:nvSpPr>
          <p:spPr>
            <a:xfrm>
              <a:off x="1286095" y="3841531"/>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Network configuration </a:t>
              </a:r>
            </a:p>
          </p:txBody>
        </p:sp>
        <p:sp>
          <p:nvSpPr>
            <p:cNvPr id="12" name="Rectangle 11"/>
            <p:cNvSpPr/>
            <p:nvPr/>
          </p:nvSpPr>
          <p:spPr>
            <a:xfrm>
              <a:off x="671217" y="4346027"/>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Account </a:t>
              </a:r>
              <a:r>
                <a:rPr lang="en-US" dirty="0" smtClean="0"/>
                <a:t>management </a:t>
              </a:r>
              <a:endParaRPr lang="en-US" dirty="0"/>
            </a:p>
          </p:txBody>
        </p:sp>
        <p:sp>
          <p:nvSpPr>
            <p:cNvPr id="15" name="Rectangle 14"/>
            <p:cNvSpPr/>
            <p:nvPr/>
          </p:nvSpPr>
          <p:spPr>
            <a:xfrm>
              <a:off x="1286095" y="4850524"/>
              <a:ext cx="3291840" cy="36576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dirty="0"/>
                <a:t>Certifying their applications</a:t>
              </a:r>
            </a:p>
          </p:txBody>
        </p:sp>
        <p:sp>
          <p:nvSpPr>
            <p:cNvPr id="16" name="Rectangle 15"/>
            <p:cNvSpPr/>
            <p:nvPr/>
          </p:nvSpPr>
          <p:spPr>
            <a:xfrm>
              <a:off x="669173" y="1749972"/>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ectangle 16"/>
            <p:cNvSpPr/>
            <p:nvPr/>
          </p:nvSpPr>
          <p:spPr>
            <a:xfrm>
              <a:off x="4071787" y="2268132"/>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ectangle 17"/>
            <p:cNvSpPr/>
            <p:nvPr/>
          </p:nvSpPr>
          <p:spPr>
            <a:xfrm>
              <a:off x="671221" y="2814671"/>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ectangle 18"/>
            <p:cNvSpPr/>
            <p:nvPr/>
          </p:nvSpPr>
          <p:spPr>
            <a:xfrm>
              <a:off x="4071787" y="3321268"/>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ectangle 19"/>
            <p:cNvSpPr/>
            <p:nvPr/>
          </p:nvSpPr>
          <p:spPr>
            <a:xfrm>
              <a:off x="669173" y="3841531"/>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Rectangle 20"/>
            <p:cNvSpPr/>
            <p:nvPr/>
          </p:nvSpPr>
          <p:spPr>
            <a:xfrm>
              <a:off x="4071787" y="4346027"/>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08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p:cNvSpPr/>
            <p:nvPr/>
          </p:nvSpPr>
          <p:spPr>
            <a:xfrm>
              <a:off x="669173" y="4850524"/>
              <a:ext cx="506148" cy="365760"/>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3" name="Content Placeholder 2"/>
          <p:cNvSpPr txBox="1">
            <a:spLocks/>
          </p:cNvSpPr>
          <p:nvPr>
            <p:custDataLst>
              <p:tags r:id="rId2"/>
            </p:custDataLst>
          </p:nvPr>
        </p:nvSpPr>
        <p:spPr bwMode="gray">
          <a:xfrm>
            <a:off x="4632960" y="1353681"/>
            <a:ext cx="4251961" cy="2769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SzPct val="120000"/>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rtl="0" eaLnBrk="0" fontAlgn="base" hangingPunct="0">
              <a:spcBef>
                <a:spcPct val="0"/>
              </a:spcBef>
              <a:spcAft>
                <a:spcPct val="0"/>
              </a:spcAft>
              <a:buClr>
                <a:schemeClr val="bg2"/>
              </a:buClr>
              <a:buSzPct val="100000"/>
              <a:buFont typeface="Wingdings" pitchFamily="2" charset="2"/>
              <a:buNone/>
              <a:defRPr lang="en-US" kern="1200">
                <a:solidFill>
                  <a:schemeClr val="tx1">
                    <a:tint val="75000"/>
                  </a:schemeClr>
                </a:solidFill>
                <a:latin typeface="+mn-lt"/>
                <a:ea typeface="+mn-ea"/>
                <a:cs typeface="Arial" charset="0"/>
              </a:defRPr>
            </a:lvl2pPr>
            <a:lvl3pPr marL="914400" indent="0" algn="ctr" rtl="0" eaLnBrk="0" fontAlgn="base" hangingPunct="0">
              <a:spcBef>
                <a:spcPct val="0"/>
              </a:spcBef>
              <a:spcAft>
                <a:spcPct val="0"/>
              </a:spcAft>
              <a:buClr>
                <a:schemeClr val="bg2"/>
              </a:buClr>
              <a:buSzPct val="90000"/>
              <a:buFont typeface="Arial" charset="0"/>
              <a:buNone/>
              <a:defRPr lang="en-US" kern="1200">
                <a:solidFill>
                  <a:schemeClr val="tx1">
                    <a:tint val="75000"/>
                  </a:schemeClr>
                </a:solidFill>
                <a:latin typeface="Arial" pitchFamily="34" charset="0"/>
                <a:ea typeface="+mn-ea"/>
                <a:cs typeface="Arial" pitchFamily="34" charset="0"/>
              </a:defRPr>
            </a:lvl3pPr>
            <a:lvl4pPr marL="1371600" indent="0" algn="ctr" rtl="0" eaLnBrk="0" fontAlgn="base" hangingPunct="0">
              <a:spcBef>
                <a:spcPct val="0"/>
              </a:spcBef>
              <a:spcAft>
                <a:spcPct val="0"/>
              </a:spcAft>
              <a:buClr>
                <a:schemeClr val="bg2"/>
              </a:buClr>
              <a:buSzPct val="80000"/>
              <a:buFont typeface="Wingdings" pitchFamily="2" charset="2"/>
              <a:buNone/>
              <a:defRPr lang="en-US" kern="1200">
                <a:solidFill>
                  <a:schemeClr val="tx1">
                    <a:tint val="75000"/>
                  </a:schemeClr>
                </a:solidFill>
                <a:latin typeface="Arial" pitchFamily="34" charset="0"/>
                <a:ea typeface="+mn-ea"/>
                <a:cs typeface="Arial" charset="0"/>
              </a:defRPr>
            </a:lvl4pPr>
            <a:lvl5pPr marL="1828800" indent="0" algn="ctr" defTabSz="933450" rtl="0" eaLnBrk="0" fontAlgn="base" hangingPunct="0">
              <a:spcBef>
                <a:spcPct val="0"/>
              </a:spcBef>
              <a:spcAft>
                <a:spcPct val="0"/>
              </a:spcAft>
              <a:buClr>
                <a:schemeClr val="bg2"/>
              </a:buClr>
              <a:buSzPct val="70000"/>
              <a:buFont typeface="Arial" charset="0"/>
              <a:buNone/>
              <a:defRPr lang="en-US" kern="1200">
                <a:solidFill>
                  <a:schemeClr val="tx1">
                    <a:tint val="75000"/>
                  </a:schemeClr>
                </a:solidFill>
                <a:latin typeface="Arial" pitchFamily="34" charset="0"/>
                <a:ea typeface="+mn-ea"/>
                <a:cs typeface="Arial" charset="0"/>
              </a:defRPr>
            </a:lvl5pPr>
            <a:lvl6pPr marL="2286000" indent="0" algn="ctr" defTabSz="914400" rtl="0" eaLnBrk="1" latinLnBrk="0" hangingPunct="1">
              <a:spcBef>
                <a:spcPct val="20000"/>
              </a:spcBef>
              <a:buClr>
                <a:schemeClr val="bg2"/>
              </a:buClr>
              <a:buSzPct val="60000"/>
              <a:buFont typeface="Wingdings" pitchFamily="2" charset="2"/>
              <a:buNone/>
              <a:defRPr sz="2000" kern="1200">
                <a:solidFill>
                  <a:schemeClr val="tx1">
                    <a:tint val="75000"/>
                  </a:schemeClr>
                </a:solidFill>
                <a:latin typeface="Arial" pitchFamily="34" charset="0"/>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buClr>
                <a:srgbClr val="6D6E71"/>
              </a:buClr>
              <a:defRPr/>
            </a:pPr>
            <a:r>
              <a:rPr lang="en-IN" i="1" dirty="0">
                <a:solidFill>
                  <a:prstClr val="black"/>
                </a:solidFill>
                <a:latin typeface="Arial"/>
                <a:cs typeface="Calibri" pitchFamily="34" charset="0"/>
              </a:rPr>
              <a:t>Customer is responsible for securing:</a:t>
            </a:r>
            <a:endParaRPr lang="en-IN" i="1" dirty="0" smtClean="0">
              <a:solidFill>
                <a:prstClr val="black"/>
              </a:solidFill>
              <a:latin typeface="Arial"/>
              <a:cs typeface="Calibri" pitchFamily="34" charset="0"/>
            </a:endParaRPr>
          </a:p>
        </p:txBody>
      </p:sp>
    </p:spTree>
    <p:extLst>
      <p:ext uri="{BB962C8B-B14F-4D97-AF65-F5344CB8AC3E}">
        <p14:creationId xmlns:p14="http://schemas.microsoft.com/office/powerpoint/2010/main" val="117538359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8050504" cy="889894"/>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IN" sz="3200" dirty="0">
                <a:solidFill>
                  <a:srgbClr val="6D6E71"/>
                </a:solidFill>
              </a:rPr>
              <a:t>Securing Networks with Security Groups</a:t>
            </a:r>
            <a:endParaRPr sz="3200" dirty="0">
              <a:solidFill>
                <a:srgbClr val="6D6E71"/>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843" y="1545388"/>
            <a:ext cx="7972425"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548870"/>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86270" y="2280833"/>
            <a:ext cx="5511800" cy="615553"/>
          </a:xfrm>
        </p:spPr>
        <p:txBody>
          <a:bodyPr/>
          <a:lstStyle/>
          <a:p>
            <a:pPr algn="ctr"/>
            <a:r>
              <a:rPr lang="en-US" dirty="0" err="1" smtClean="0"/>
              <a:t>DevOps</a:t>
            </a:r>
            <a:endParaRPr lang="en-US" dirty="0"/>
          </a:p>
        </p:txBody>
      </p:sp>
    </p:spTree>
    <p:extLst>
      <p:ext uri="{BB962C8B-B14F-4D97-AF65-F5344CB8AC3E}">
        <p14:creationId xmlns:p14="http://schemas.microsoft.com/office/powerpoint/2010/main" val="297829243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98"/>
          <p:cNvPicPr>
            <a:picLocks/>
          </p:cNvPicPr>
          <p:nvPr/>
        </p:nvPicPr>
        <p:blipFill>
          <a:blip r:embed="rId2">
            <a:extLst>
              <a:ext uri="{28A0092B-C50C-407E-A947-70E740481C1C}">
                <a14:useLocalDpi xmlns:a14="http://schemas.microsoft.com/office/drawing/2010/main"/>
              </a:ext>
            </a:extLst>
          </a:blip>
          <a:srcRect/>
          <a:stretch>
            <a:fillRect/>
          </a:stretch>
        </p:blipFill>
        <p:spPr bwMode="auto">
          <a:xfrm>
            <a:off x="589936" y="1120876"/>
            <a:ext cx="7875639" cy="4970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7625">
                <a:solidFill>
                  <a:srgbClr val="000000"/>
                </a:solidFill>
                <a:miter lim="800000"/>
                <a:headEnd/>
                <a:tailEnd/>
              </a14:hiddenLine>
            </a:ext>
          </a:extLst>
        </p:spPr>
      </p:pic>
      <p:sp>
        <p:nvSpPr>
          <p:cNvPr id="10" name="Rectangle 99"/>
          <p:cNvSpPr>
            <a:spLocks noChangeArrowheads="1"/>
          </p:cNvSpPr>
          <p:nvPr/>
        </p:nvSpPr>
        <p:spPr bwMode="auto">
          <a:xfrm>
            <a:off x="4268457" y="6252642"/>
            <a:ext cx="4536330" cy="22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defTabSz="457200" eaLnBrk="0" hangingPunct="0">
              <a:buClr>
                <a:schemeClr val="bg2"/>
              </a:buClr>
              <a:buSzPct val="120000"/>
              <a:buFont typeface="Wingdings" pitchFamily="2" charset="2"/>
              <a:buChar char="§"/>
              <a:defRPr>
                <a:solidFill>
                  <a:schemeClr val="tx1"/>
                </a:solidFill>
                <a:latin typeface="Arial" pitchFamily="34" charset="0"/>
                <a:cs typeface="Arial" pitchFamily="34" charset="0"/>
              </a:defRPr>
            </a:lvl1pPr>
            <a:lvl2pPr marL="285750" indent="-50800" defTabSz="457200" eaLnBrk="0" hangingPunct="0">
              <a:buClr>
                <a:schemeClr val="bg2"/>
              </a:buClr>
              <a:buSzPct val="100000"/>
              <a:buFont typeface="Wingdings" pitchFamily="2" charset="2"/>
              <a:buChar char="§"/>
              <a:defRPr>
                <a:solidFill>
                  <a:schemeClr val="tx1"/>
                </a:solidFill>
                <a:latin typeface="Arial" pitchFamily="34" charset="0"/>
                <a:cs typeface="Arial" pitchFamily="34" charset="0"/>
              </a:defRPr>
            </a:lvl2pPr>
            <a:lvl3pPr marL="1143000" indent="-228600" defTabSz="457200" eaLnBrk="0" hangingPunct="0">
              <a:buClr>
                <a:schemeClr val="bg2"/>
              </a:buClr>
              <a:buSzPct val="90000"/>
              <a:buFont typeface="Arial" pitchFamily="34" charset="0"/>
              <a:buChar char="–"/>
              <a:defRPr>
                <a:solidFill>
                  <a:schemeClr val="tx1"/>
                </a:solidFill>
                <a:latin typeface="Arial" pitchFamily="34" charset="0"/>
                <a:cs typeface="Arial" pitchFamily="34" charset="0"/>
              </a:defRPr>
            </a:lvl3pPr>
            <a:lvl4pPr marL="1600200" indent="-228600" defTabSz="457200" eaLnBrk="0" hangingPunct="0">
              <a:buClr>
                <a:schemeClr val="bg2"/>
              </a:buClr>
              <a:buSzPct val="80000"/>
              <a:buFont typeface="Wingdings" pitchFamily="2" charset="2"/>
              <a:buChar char="§"/>
              <a:defRPr>
                <a:solidFill>
                  <a:schemeClr val="tx1"/>
                </a:solidFill>
                <a:latin typeface="Arial" pitchFamily="34" charset="0"/>
                <a:cs typeface="Arial" pitchFamily="34" charset="0"/>
              </a:defRPr>
            </a:lvl4pPr>
            <a:lvl5pPr marL="2057400" indent="-228600" defTabSz="457200" eaLnBrk="0" hangingPunct="0">
              <a:buClr>
                <a:schemeClr val="bg2"/>
              </a:buClr>
              <a:buSzPct val="70000"/>
              <a:buFont typeface="Arial" pitchFamily="34" charset="0"/>
              <a:buChar char="–"/>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9pPr>
          </a:lstStyle>
          <a:p>
            <a:pPr lvl="1" eaLnBrk="1" hangingPunct="1">
              <a:buClr>
                <a:schemeClr val="tx2"/>
              </a:buClr>
              <a:buSzPct val="120000"/>
              <a:buFontTx/>
              <a:buNone/>
            </a:pPr>
            <a:r>
              <a:rPr lang="en-US" altLang="en-US" sz="800" b="1" dirty="0"/>
              <a:t>Source: Forrester Research Inc., “Five Ways To Streamline Release Management</a:t>
            </a:r>
            <a:r>
              <a:rPr lang="en-US" altLang="en-US" sz="800" b="1" dirty="0" smtClean="0"/>
              <a:t>” </a:t>
            </a:r>
            <a:endParaRPr lang="en-US" altLang="en-US" sz="800" b="1" dirty="0"/>
          </a:p>
        </p:txBody>
      </p:sp>
      <p:sp>
        <p:nvSpPr>
          <p:cNvPr id="2" name="Title 1"/>
          <p:cNvSpPr>
            <a:spLocks noGrp="1"/>
          </p:cNvSpPr>
          <p:nvPr>
            <p:ph type="title"/>
          </p:nvPr>
        </p:nvSpPr>
        <p:spPr>
          <a:xfrm>
            <a:off x="1392074" y="182880"/>
            <a:ext cx="6858000" cy="492443"/>
          </a:xfrm>
        </p:spPr>
        <p:txBody>
          <a:bodyPr/>
          <a:lstStyle/>
          <a:p>
            <a:r>
              <a:rPr lang="en-US" dirty="0" smtClean="0"/>
              <a:t>How Responsive is your Organization?</a:t>
            </a:r>
            <a:endParaRPr lang="en-US" dirty="0"/>
          </a:p>
        </p:txBody>
      </p:sp>
    </p:spTree>
    <p:extLst>
      <p:ext uri="{BB962C8B-B14F-4D97-AF65-F5344CB8AC3E}">
        <p14:creationId xmlns:p14="http://schemas.microsoft.com/office/powerpoint/2010/main" val="3146018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704850"/>
            <a:ext cx="8868957" cy="5776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492158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oftware Delivery Challenges</a:t>
            </a:r>
            <a:endParaRPr lang="en-US" dirty="0"/>
          </a:p>
        </p:txBody>
      </p:sp>
      <p:sp>
        <p:nvSpPr>
          <p:cNvPr id="6" name="Text Placeholder 5"/>
          <p:cNvSpPr>
            <a:spLocks noGrp="1"/>
          </p:cNvSpPr>
          <p:nvPr>
            <p:ph type="body" sz="quarter" idx="13"/>
          </p:nvPr>
        </p:nvSpPr>
        <p:spPr>
          <a:xfrm>
            <a:off x="501446" y="1070733"/>
            <a:ext cx="5530644" cy="330364"/>
          </a:xfrm>
        </p:spPr>
        <p:txBody>
          <a:bodyPr/>
          <a:lstStyle/>
          <a:p>
            <a:pPr algn="ctr"/>
            <a:r>
              <a:rPr lang="en-US" b="1" dirty="0" smtClean="0"/>
              <a:t>Work organized in silos has run its course</a:t>
            </a:r>
            <a:endParaRPr lang="en-US" b="1" dirty="0"/>
          </a:p>
        </p:txBody>
      </p:sp>
      <p:pic>
        <p:nvPicPr>
          <p:cNvPr id="1229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3303" b="2971"/>
          <a:stretch/>
        </p:blipFill>
        <p:spPr bwMode="auto">
          <a:xfrm>
            <a:off x="316704" y="1609888"/>
            <a:ext cx="5839842" cy="3348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le 8"/>
          <p:cNvSpPr/>
          <p:nvPr/>
        </p:nvSpPr>
        <p:spPr>
          <a:xfrm>
            <a:off x="483966" y="5886485"/>
            <a:ext cx="8198072" cy="390246"/>
          </a:xfrm>
          <a:prstGeom prst="roundRect">
            <a:avLst/>
          </a:prstGeom>
          <a:solidFill>
            <a:schemeClr val="bg1">
              <a:lumMod val="95000"/>
            </a:schemeClr>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1600" b="1" dirty="0" smtClean="0"/>
              <a:t>Lack of collaboration and absence of continuous Integration</a:t>
            </a:r>
            <a:endParaRPr lang="en-US" sz="1600" b="1" dirty="0"/>
          </a:p>
        </p:txBody>
      </p:sp>
      <p:pic>
        <p:nvPicPr>
          <p:cNvPr id="8" name="Picture 29" descr="Nolio_Stopwatch.pdf"/>
          <p:cNvPicPr>
            <a:picLocks noChangeAspect="1"/>
          </p:cNvPicPr>
          <p:nvPr/>
        </p:nvPicPr>
        <p:blipFill>
          <a:blip r:embed="rId3" cstate="screen">
            <a:extLst>
              <a:ext uri="{28A0092B-C50C-407E-A947-70E740481C1C}">
                <a14:useLocalDpi xmlns:a14="http://schemas.microsoft.com/office/drawing/2010/main"/>
              </a:ext>
            </a:extLst>
          </a:blip>
          <a:srcRect l="39185" t="37630" r="41112" b="37334"/>
          <a:stretch>
            <a:fillRect/>
          </a:stretch>
        </p:blipFill>
        <p:spPr bwMode="auto">
          <a:xfrm>
            <a:off x="7235562" y="622854"/>
            <a:ext cx="495817" cy="528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0"/>
          <p:cNvSpPr txBox="1">
            <a:spLocks noChangeArrowheads="1"/>
          </p:cNvSpPr>
          <p:nvPr/>
        </p:nvSpPr>
        <p:spPr bwMode="auto">
          <a:xfrm>
            <a:off x="6188070" y="1151027"/>
            <a:ext cx="25908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bg2"/>
              </a:buClr>
              <a:buSzPct val="120000"/>
              <a:buFont typeface="Wingdings" pitchFamily="2" charset="2"/>
              <a:buChar char="§"/>
              <a:defRPr>
                <a:solidFill>
                  <a:schemeClr val="tx1"/>
                </a:solidFill>
                <a:latin typeface="Arial" pitchFamily="34" charset="0"/>
                <a:cs typeface="Arial" pitchFamily="34" charset="0"/>
              </a:defRPr>
            </a:lvl1pPr>
            <a:lvl2pPr marL="742950" indent="-285750" eaLnBrk="0" hangingPunct="0">
              <a:buClr>
                <a:schemeClr val="bg2"/>
              </a:buClr>
              <a:buSzPct val="100000"/>
              <a:buFont typeface="Wingdings" pitchFamily="2" charset="2"/>
              <a:buChar char="§"/>
              <a:defRPr>
                <a:solidFill>
                  <a:schemeClr val="tx1"/>
                </a:solidFill>
                <a:latin typeface="Arial" pitchFamily="34" charset="0"/>
                <a:cs typeface="Arial" pitchFamily="34" charset="0"/>
              </a:defRPr>
            </a:lvl2pPr>
            <a:lvl3pPr marL="1143000" indent="-228600" eaLnBrk="0" hangingPunct="0">
              <a:buClr>
                <a:schemeClr val="bg2"/>
              </a:buClr>
              <a:buSzPct val="90000"/>
              <a:buFont typeface="Arial" pitchFamily="34" charset="0"/>
              <a:buChar char="–"/>
              <a:defRPr>
                <a:solidFill>
                  <a:schemeClr val="tx1"/>
                </a:solidFill>
                <a:latin typeface="Arial" pitchFamily="34" charset="0"/>
                <a:cs typeface="Arial" pitchFamily="34" charset="0"/>
              </a:defRPr>
            </a:lvl3pPr>
            <a:lvl4pPr marL="1600200" indent="-228600" eaLnBrk="0" hangingPunct="0">
              <a:buClr>
                <a:schemeClr val="bg2"/>
              </a:buClr>
              <a:buSzPct val="80000"/>
              <a:buFont typeface="Wingdings" pitchFamily="2" charset="2"/>
              <a:buChar char="§"/>
              <a:defRPr>
                <a:solidFill>
                  <a:schemeClr val="tx1"/>
                </a:solidFill>
                <a:latin typeface="Arial" pitchFamily="34" charset="0"/>
                <a:cs typeface="Arial" pitchFamily="34" charset="0"/>
              </a:defRPr>
            </a:lvl4pPr>
            <a:lvl5pPr marL="2057400" indent="-228600" defTabSz="933450" eaLnBrk="0" hangingPunct="0">
              <a:buClr>
                <a:schemeClr val="bg2"/>
              </a:buClr>
              <a:buSzPct val="70000"/>
              <a:buFont typeface="Arial" pitchFamily="34" charset="0"/>
              <a:buChar char="–"/>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9pPr>
          </a:lstStyle>
          <a:p>
            <a:pPr algn="ctr" eaLnBrk="1" hangingPunct="1">
              <a:buClrTx/>
              <a:buSzTx/>
              <a:buFontTx/>
              <a:buNone/>
            </a:pPr>
            <a:r>
              <a:rPr lang="en-US" altLang="en-US" sz="1600" b="1" dirty="0"/>
              <a:t>Long Release Times</a:t>
            </a:r>
          </a:p>
          <a:p>
            <a:pPr algn="ctr" eaLnBrk="1" hangingPunct="1">
              <a:buClrTx/>
              <a:buSzTx/>
              <a:buFontTx/>
              <a:buNone/>
            </a:pPr>
            <a:r>
              <a:rPr lang="en-US" altLang="en-US" sz="1200" dirty="0"/>
              <a:t>Release bottlenecks (can’t make release window) delays &amp; limited operational agility.</a:t>
            </a:r>
          </a:p>
        </p:txBody>
      </p:sp>
      <p:sp>
        <p:nvSpPr>
          <p:cNvPr id="11" name="Rectangle 10"/>
          <p:cNvSpPr/>
          <p:nvPr/>
        </p:nvSpPr>
        <p:spPr>
          <a:xfrm>
            <a:off x="7054716" y="2397071"/>
            <a:ext cx="857509" cy="495704"/>
          </a:xfrm>
          <a:prstGeom prst="rect">
            <a:avLst/>
          </a:prstGeom>
          <a:solidFill>
            <a:srgbClr val="C30532"/>
          </a:solidFill>
          <a:ln>
            <a:noFill/>
          </a:ln>
        </p:spPr>
        <p:style>
          <a:lnRef idx="1">
            <a:schemeClr val="accent1"/>
          </a:lnRef>
          <a:fillRef idx="3">
            <a:schemeClr val="accent1"/>
          </a:fillRef>
          <a:effectRef idx="2">
            <a:schemeClr val="accent1"/>
          </a:effectRef>
          <a:fontRef idx="minor">
            <a:schemeClr val="lt1"/>
          </a:fontRef>
        </p:style>
        <p:txBody>
          <a:bodyPr lIns="9144" tIns="9144" rIns="9144" bIns="9144" anchor="ctr"/>
          <a:lstStyle/>
          <a:p>
            <a:pPr algn="ctr" fontAlgn="auto">
              <a:spcBef>
                <a:spcPts val="0"/>
              </a:spcBef>
              <a:spcAft>
                <a:spcPts val="0"/>
              </a:spcAft>
              <a:defRPr/>
            </a:pPr>
            <a:r>
              <a:rPr lang="en-US" sz="2400" dirty="0">
                <a:cs typeface="Georgia"/>
              </a:rPr>
              <a:t>60%</a:t>
            </a:r>
          </a:p>
        </p:txBody>
      </p:sp>
      <p:sp>
        <p:nvSpPr>
          <p:cNvPr id="12" name="TextBox 32"/>
          <p:cNvSpPr txBox="1">
            <a:spLocks noChangeArrowheads="1"/>
          </p:cNvSpPr>
          <p:nvPr/>
        </p:nvSpPr>
        <p:spPr bwMode="auto">
          <a:xfrm>
            <a:off x="6264270" y="2869080"/>
            <a:ext cx="2438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bg2"/>
              </a:buClr>
              <a:buSzPct val="120000"/>
              <a:buFont typeface="Wingdings" pitchFamily="2" charset="2"/>
              <a:buChar char="§"/>
              <a:defRPr>
                <a:solidFill>
                  <a:schemeClr val="tx1"/>
                </a:solidFill>
                <a:latin typeface="Arial" pitchFamily="34" charset="0"/>
                <a:cs typeface="Arial" pitchFamily="34" charset="0"/>
              </a:defRPr>
            </a:lvl1pPr>
            <a:lvl2pPr marL="742950" indent="-285750" eaLnBrk="0" hangingPunct="0">
              <a:buClr>
                <a:schemeClr val="bg2"/>
              </a:buClr>
              <a:buSzPct val="100000"/>
              <a:buFont typeface="Wingdings" pitchFamily="2" charset="2"/>
              <a:buChar char="§"/>
              <a:defRPr>
                <a:solidFill>
                  <a:schemeClr val="tx1"/>
                </a:solidFill>
                <a:latin typeface="Arial" pitchFamily="34" charset="0"/>
                <a:cs typeface="Arial" pitchFamily="34" charset="0"/>
              </a:defRPr>
            </a:lvl2pPr>
            <a:lvl3pPr marL="1143000" indent="-228600" eaLnBrk="0" hangingPunct="0">
              <a:buClr>
                <a:schemeClr val="bg2"/>
              </a:buClr>
              <a:buSzPct val="90000"/>
              <a:buFont typeface="Arial" pitchFamily="34" charset="0"/>
              <a:buChar char="–"/>
              <a:defRPr>
                <a:solidFill>
                  <a:schemeClr val="tx1"/>
                </a:solidFill>
                <a:latin typeface="Arial" pitchFamily="34" charset="0"/>
                <a:cs typeface="Arial" pitchFamily="34" charset="0"/>
              </a:defRPr>
            </a:lvl3pPr>
            <a:lvl4pPr marL="1600200" indent="-228600" eaLnBrk="0" hangingPunct="0">
              <a:buClr>
                <a:schemeClr val="bg2"/>
              </a:buClr>
              <a:buSzPct val="80000"/>
              <a:buFont typeface="Wingdings" pitchFamily="2" charset="2"/>
              <a:buChar char="§"/>
              <a:defRPr>
                <a:solidFill>
                  <a:schemeClr val="tx1"/>
                </a:solidFill>
                <a:latin typeface="Arial" pitchFamily="34" charset="0"/>
                <a:cs typeface="Arial" pitchFamily="34" charset="0"/>
              </a:defRPr>
            </a:lvl4pPr>
            <a:lvl5pPr marL="2057400" indent="-228600" defTabSz="933450" eaLnBrk="0" hangingPunct="0">
              <a:buClr>
                <a:schemeClr val="bg2"/>
              </a:buClr>
              <a:buSzPct val="70000"/>
              <a:buFont typeface="Arial" pitchFamily="34" charset="0"/>
              <a:buChar char="–"/>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9pPr>
          </a:lstStyle>
          <a:p>
            <a:pPr algn="ctr" eaLnBrk="1" hangingPunct="1">
              <a:buClrTx/>
              <a:buSzTx/>
              <a:buFontTx/>
              <a:buNone/>
            </a:pPr>
            <a:r>
              <a:rPr lang="en-US" altLang="en-US" sz="1600" b="1" dirty="0"/>
              <a:t>Release Failures</a:t>
            </a:r>
          </a:p>
          <a:p>
            <a:pPr algn="ctr" eaLnBrk="1" hangingPunct="1">
              <a:buClrTx/>
              <a:buSzTx/>
              <a:buFontTx/>
              <a:buNone/>
            </a:pPr>
            <a:r>
              <a:rPr lang="en-US" altLang="en-US" sz="1200" dirty="0"/>
              <a:t>60% of application failure &amp; downtime is release related.</a:t>
            </a:r>
          </a:p>
          <a:p>
            <a:pPr algn="ctr" eaLnBrk="1" hangingPunct="1">
              <a:buClrTx/>
              <a:buSzTx/>
              <a:buFontTx/>
              <a:buNone/>
            </a:pPr>
            <a:r>
              <a:rPr lang="en-US" altLang="en-US" sz="800" dirty="0"/>
              <a:t>(IDC Survey 2009)</a:t>
            </a:r>
          </a:p>
        </p:txBody>
      </p:sp>
      <p:sp>
        <p:nvSpPr>
          <p:cNvPr id="16" name="TextBox 34"/>
          <p:cNvSpPr txBox="1">
            <a:spLocks noChangeArrowheads="1"/>
          </p:cNvSpPr>
          <p:nvPr/>
        </p:nvSpPr>
        <p:spPr bwMode="auto">
          <a:xfrm>
            <a:off x="6640508" y="4658305"/>
            <a:ext cx="1685925"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bg2"/>
              </a:buClr>
              <a:buSzPct val="120000"/>
              <a:buFont typeface="Wingdings" pitchFamily="2" charset="2"/>
              <a:buChar char="§"/>
              <a:defRPr>
                <a:solidFill>
                  <a:schemeClr val="tx1"/>
                </a:solidFill>
                <a:latin typeface="Arial" pitchFamily="34" charset="0"/>
                <a:cs typeface="Arial" pitchFamily="34" charset="0"/>
              </a:defRPr>
            </a:lvl1pPr>
            <a:lvl2pPr marL="742950" indent="-285750" eaLnBrk="0" hangingPunct="0">
              <a:buClr>
                <a:schemeClr val="bg2"/>
              </a:buClr>
              <a:buSzPct val="100000"/>
              <a:buFont typeface="Wingdings" pitchFamily="2" charset="2"/>
              <a:buChar char="§"/>
              <a:defRPr>
                <a:solidFill>
                  <a:schemeClr val="tx1"/>
                </a:solidFill>
                <a:latin typeface="Arial" pitchFamily="34" charset="0"/>
                <a:cs typeface="Arial" pitchFamily="34" charset="0"/>
              </a:defRPr>
            </a:lvl2pPr>
            <a:lvl3pPr marL="1143000" indent="-228600" eaLnBrk="0" hangingPunct="0">
              <a:buClr>
                <a:schemeClr val="bg2"/>
              </a:buClr>
              <a:buSzPct val="90000"/>
              <a:buFont typeface="Arial" pitchFamily="34" charset="0"/>
              <a:buChar char="–"/>
              <a:defRPr>
                <a:solidFill>
                  <a:schemeClr val="tx1"/>
                </a:solidFill>
                <a:latin typeface="Arial" pitchFamily="34" charset="0"/>
                <a:cs typeface="Arial" pitchFamily="34" charset="0"/>
              </a:defRPr>
            </a:lvl3pPr>
            <a:lvl4pPr marL="1600200" indent="-228600" eaLnBrk="0" hangingPunct="0">
              <a:buClr>
                <a:schemeClr val="bg2"/>
              </a:buClr>
              <a:buSzPct val="80000"/>
              <a:buFont typeface="Wingdings" pitchFamily="2" charset="2"/>
              <a:buChar char="§"/>
              <a:defRPr>
                <a:solidFill>
                  <a:schemeClr val="tx1"/>
                </a:solidFill>
                <a:latin typeface="Arial" pitchFamily="34" charset="0"/>
                <a:cs typeface="Arial" pitchFamily="34" charset="0"/>
              </a:defRPr>
            </a:lvl4pPr>
            <a:lvl5pPr marL="2057400" indent="-228600" defTabSz="933450" eaLnBrk="0" hangingPunct="0">
              <a:buClr>
                <a:schemeClr val="bg2"/>
              </a:buClr>
              <a:buSzPct val="70000"/>
              <a:buFont typeface="Arial" pitchFamily="34" charset="0"/>
              <a:buChar char="–"/>
              <a:defRPr>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buClr>
                <a:schemeClr val="bg2"/>
              </a:buClr>
              <a:buSzPct val="70000"/>
              <a:buFont typeface="Arial" pitchFamily="34" charset="0"/>
              <a:buChar char="–"/>
              <a:defRPr>
                <a:solidFill>
                  <a:schemeClr val="tx1"/>
                </a:solidFill>
                <a:latin typeface="Arial" pitchFamily="34" charset="0"/>
                <a:cs typeface="Arial" pitchFamily="34" charset="0"/>
              </a:defRPr>
            </a:lvl9pPr>
          </a:lstStyle>
          <a:p>
            <a:pPr algn="ctr" eaLnBrk="1" hangingPunct="1">
              <a:buClrTx/>
              <a:buSzTx/>
              <a:buFontTx/>
              <a:buNone/>
            </a:pPr>
            <a:r>
              <a:rPr lang="en-US" altLang="en-US" b="1" dirty="0"/>
              <a:t> </a:t>
            </a:r>
            <a:r>
              <a:rPr lang="en-US" altLang="en-US" sz="1600" b="1" dirty="0"/>
              <a:t>High Costs </a:t>
            </a:r>
          </a:p>
          <a:p>
            <a:pPr algn="ctr" eaLnBrk="1" hangingPunct="1">
              <a:buClrTx/>
              <a:buSzTx/>
              <a:buFontTx/>
              <a:buNone/>
            </a:pPr>
            <a:r>
              <a:rPr lang="en-US" altLang="en-US" sz="1200" dirty="0"/>
              <a:t>75% of IT operation team’s time is spent on release management.</a:t>
            </a:r>
          </a:p>
          <a:p>
            <a:pPr algn="ctr" eaLnBrk="1" hangingPunct="1">
              <a:buClrTx/>
              <a:buSzTx/>
              <a:buFontTx/>
              <a:buNone/>
            </a:pPr>
            <a:r>
              <a:rPr lang="en-US" altLang="en-US" sz="800" dirty="0"/>
              <a:t>(Forrester, 2009)</a:t>
            </a:r>
            <a:endParaRPr lang="en-US" altLang="en-US" sz="900" dirty="0"/>
          </a:p>
        </p:txBody>
      </p:sp>
      <p:sp>
        <p:nvSpPr>
          <p:cNvPr id="2" name="AutoShape 2" descr="data:image/jpeg;base64,/9j/4AAQSkZJRgABAQAAAQABAAD/2wCEAAkGBxIHEhETBxQWFRIXFxgVExEVFRcXGhgaGBgWGBkbGxwYHSggGBonJxYYITItJjUrLi4wFx8zOD8sNygtLisBCgoKDg0OGxAQGzQlICYsLDQvNDQtLDQ3MjcsNCw2NDcsLCw1LCwsLTQ0LCwsLCwsLCwsLDQ0Ni0sLCwsLCwsLP/AABEIAOEA4QMBEQACEQEDEQH/xAAcAAEAAwADAQEAAAAAAAAAAAAABQYHAgMECAH/xABJEAABAwIBCAYFBwoEBwAAAAABAAIDBBEFBgcSITFBUYETImFxkaEyQlKxwRQVIzRik9FDU3KCkqKywuHxFiQzVDVjc4Oz0vD/xAAbAQEAAgMBAQAAAAAAAAAAAAAABAUDBgcCAf/EAD4RAAICAQEDCQUHAgQHAAAAAAABAgMEEQUhMQYSQVFhcZGh0RMigbHBFDIzQpLh8FJTFSND8RY0NWJygrL/2gAMAwEAAhEDEQA/ANxQBAEAQBAEAQBAEAQBAcJpWwNc6YgNaC5zjqAAFyT2L43otWeoxc5KMVq2YxlZnBqMTe5uEvdDADZpb1Xv+0XbW9wt23VTdlyk9I7kdB2ZyfoogpXpSn28F2JcH3siMJywrcLeHRTveN8crnPaeROrlYrFDIsg9dSfk7Hw8iPNcEu1JJ+X1NsyZx2PKGBs1NqOx7L3LHDaO3iOIIVvVarI85HO9oYM8K91T+D60SqykEIAgCAIAgCAIAgCAIAgCAIAgCAIAgCAIAgCAIAgCAo+djGhQ0vQRu+kmIBAOsMBu49xsG9tyoebZzYc3pZsnJrCduT7Zr3YfPo9TGFUnQggLtmpxr5uqjFO60cw0dezTHoeNy3vcFLw7ObPmvpNc5SYXt8b2sVvhv8Ah0+ptKtznhUMoM4dJhDiyG88g2iMjRB4F2zwuotuXCG5b2X2Dyeyslc+XuR7ePh66FdhztnSHTUw0L69GS7gObbHyUdZ+/fEtpcklzfdt39275mk0FYzEI45aU3Y9oc09h9xVhGSkk0ahdTOmyVc+KejPQvRiCAIAgCAIAgCAIAgCAIAgCAIAgCA8GOYtFgkL5q4nRbuGsuJ1AAcSvFlirjzmSsPEsyrlVXxfl3mb1GdmUuPyanYG7tJ5J8rKvee+hG218k69PfsevYl+5+NztSj06ZnJ7h8E+3y6j6+SVXRY/BHlrs6lXMCKOOKO4PWsXkdoubeIK8yzpvgtDPTyVxYvWyTl5fv5opVfXSYi90lc8vedrnG/wDYdgUOUnJ6s2GmiuiChWtEjzr4ZggANtiHwlKrKOsq2dHU1ErmWtol51j7Xtc7rI7rGtGyHXs7Ernz4VpPu+XV8CLWMmhAfQuRlG7D6Gljm1ODASDtBcS6x7RpW5K8oi41pM5Vta6N2ZZOPDX5bvoTSzFcEAQBAEAQBAEAQBAEAQBAEAQBAEBTc69C6soS6HX0UjZHAezZzT4ad+4FRM2LlXu6DYOTV8as3SX5k0u/c/poYkqg6MEAQBAEAQBAEAQFmzeYJ89VjBKLxx/SycDokaLeZI5AqRi18+zfwRTbdzfsuI3H70ty+PF/BeehvKujmQQBAEAQBAEAQBAEAQBAEAQBAEAQBAcJomztc2YXa4Frgd4IsQvjWq0Z6hNwkpR4o+dco8KOC1M0EnqO6p4tOtp8CFQ2w5k3E6xgZSyseFy6Vv7+nzI1eCYEAQBAEAQBAEBs2aTC/kdIZnjrTOJB36LLtaPHSPNW2FDSHO6znvKfK9plKpcILze/0LyphrYQBAEAQBAEAQBAEAQBAEAQBAEAQBAEBmOeTCLiGqiGz6KTu1uYf4hzCrs6vhM3Lkrmb540u9fX6eZlyrjdAgCAIAgCAID9Y0vIDNZJsB3ofG0lqz6UwqjGHwxRR7GMaz9kALYIR5sUjkGTc7rpWPpbfiepejCEAQBAEAQBAEAQBAEAQBAEAQBAEAQBAR+P4Y3GKeaCX12kA8HbWnkQDyXiyHPi4krCyXjXwuXQ/Lp8j5zmidA5zZhZzSWuB3EGxCoGtHozrUJqcVKPBnBD0EAQBAEAQErkpB8prKRvGaO/cHAnyBWSla2RXaQdpWczEtl/2v5H0Ur45OEAQBAEAQBAEAQBAEAQBAEAQBAEAQBAEAQGLZ1sF+bqrpoh9HONLueLBw56ncyqjMr5s+cuk6HyazfbY3spcYbvg+HoUlRDYwgCAIAgCAsGQDS7EKTQFzp35BrifK5WfG/FiVW22lgW69X1Rv6uzlwQBAEAQBAEAQBAEAQBAEAQBAEAQBAEAQBARWUmBRZQwmGsuNek142tcL2I8SOax21KyPNZNwM+zCu9rX8V1oyfGM29bQEmkDZ2biw2dbta7f3XVXPDsjw3m84vKTDuXvvmPt4eK+uhV6zDpqH67FJH+mxzfeFHlCUeKLmrJpt/Dmn3NM8q8mcIDtpqWSrOjSsc93BjS4+AX1Rb4GOy2Fa1nJJdr0LPhGbyuxEgysELPalNjbsaLuv32UiGJZLitCmyuUOFSvdlzn1L14fM1DJPI+DJoXi68xFnTOFuTR6o8+1WNOPGrhxNM2nti7Oekt0VwXq+l/zQsakFSEAQBAEAQBAEAQBAEAQBAEAQBAEAQBAEB+E22oCLjyko5ZehiqIzLuaHA3PC+zS7NqxK6ty5uu8my2blxq9q63ze76cdO3gSqykIHXtQHjnwqnqfrEMTv0o2n3heHXF8USIZd8PuTa7mzqiwCkiN4qaBp4iGMe4L4qoLhFeB7ln5UlpK2T/9n6nvYwRi0YAHACyyaEVycnqzkh8OqqqWUjXPqnBjGi7nOIAHMr42ktWe6652SUILVvoRnmI51o4JtGhh6SEajIXaBd2tFjq79vYoMs5KW5ao2ujkpOVWtk+bLq0107/28yfwXL6hxWw6Tonn1JbN8HX0T43WavKrn06FXl7AzMffzecuuO/y4+RaAb7FJKU/UAQBAEAQBAEAQBAEAQBAEAQBAEBTcp84dPg92UVp5hqs09Rp+07eeweSiXZcIblvZsGzuT2Rk6Ts9yPbxfcvq/MyzHsqqvHifl0h0N0TOqwcvW53VbZfOzizdcLZWLiL/Ljv63vfj0fDQhViLEs+CZeVuEANbJ0jBsZLd1u519IeNlIryrIbtdSmy9g4eS+c4819a3eXDyLdRZ2Y3fX6dze2N4d5OtbxUqOevzIobuSdi/CsT71p8tSUizn0Dxd/StPAsHwcVkWbX2kKXJjNT3c1/H9jmc5lAN8n3f8AVffttR5/4ZzupeJ5KjOrSMv0EUzjuuGNH8RPkvLzodCZIr5K5T+9KK8X9CBxDOvPKLYfCyP7TnGQ8tTRfvusEs+T+6tCzo5KURets3LuWnqUzF8cqMadpYnK59tgOpo7mjUFEnbOf3mbBi4OPirSmKXz8eJHrwSwgJzJ/KyqwCwon3j/ADL+szkNreVlmqvnXwZWZ2ycXM32R39a3P8Af46mrZL5fU2OWZP9DMdWg49Vx+y7YT2Gx71ZU5ULNz3M0naOwMjE1nH3oda6O9fXgW1SiiCAIAgCAIAgCAIAgCAIAgPLiWIRYXG6WveGMbtcfcBtJ7BrXmU1FayM1GPZfYq6lq2Y9lhl/NjWlHh14qfZwe8faI2DsHO6qr8uU90dyN+2VsCrF0st96fku718NClqIbEEAQBAEAQBAEAQBAEAQBAEBe8j84kuF6MWMXlh2B+17B/O3sOvhwUyjLcN0t6NZ2pydryNbKPdn1dD9H5fM12irI69jZKNwexwu1zTcH+qtYyUlqjQ7qZ0zcLFo10HevpjCAIAgCAIAgCAIAgI7HcZiwKF01ebNGoNHpOdua0byf67FjssjXHnSJWHh25dqqqW/wCS62YZlTlNNlJJpVR0WD/ThB6rR8XcT7hqVNddK16s6Xs7ZlODXzYb2+L6X6LsIRYixCAIAgCAIDnDE6dzWwguc4gNaBcknYAN5RJt6I8znGEXKT0SJf8AwlX/AO1l/YKy/Z7f6WQP8Wwv7sfEiqqmfRvcyqaWPbqc1wII5FY2mnoybXZCyKnB6p9KOpfDIEAQBAEAQBAT+SOVUuTUl4utC4/SQk6j2jg7t8VmovlU93Aq9p7Kqzq9JbpLg/5xRuWDYrFjUTZcPdpMPi072uG4hXNdkZx50Tm2ViW4trqtWjXn2rsPcvZGCAIAgCAIAgCA8uJV8eFxPlrXaLGC5PuA4k7B3rzOaguczNj0WX2KqtatmCZWZRSZSTGSa4YLiKO+pjf/AGO8/ABUl1ztlqzp+zNnV4NPMjxfF9b9Or/chViLEIAgCAIAgCAmsi/r9J/1We9ZaPxI95XbW/5K3/xZ9Cq9OVGDZyv+JVX/AG//ABRqly/xn/Og6byf/wCn1/H/AOmVlRy5CAIAgCAIAgCAnckcppMmpdOLrRu1SxX1OHEcHDcVmoudUtVwKzamzK86rmy3SXB9X7dZvOG18eJxMlonaTHi7T7weBGw9yuoTUlzkcyyKLKLHVYtGj0r0YQgCAIAgCAIDFM5WVPz1N0NIf8ALxHaPXeLgu7hrA5neqjLv58uauCOicn9l/ZavazXvyXgur6vw6ClqIbEEAQBAEAQBAWPJHI+bKU3j6kINnTEX5NHrH3LPRjyt7io2ptinBWj3yfBevUjWMCyIo8FLXQs05W6xLIdI3G8D0RyCs68auG9LeaPmbby8pOMpaRfQv5q/EsikFQeOswqCu+uwxyHi+Nrj4kLxKEZcUSKsq+r8ObXc2isY1m3oq8E0gMD/aYbt5tO7uso9mHXLhuLjE5SZlLSn767ePivrqYrI0MJDTcAkAjf2qoZ0SL1SbOKHoIAgCAIAgCAuObnKo4HL0VY7/LyHrX2MdsD+wbj47lKxb/Zy0fBmv7e2V9rq9pWvfj5rq9PDpNuVwc5CAIAgCAICn5zMoTg1N0dMbTTXY0ja1vru7DrAHffcouXbzIaLiy/5PbPWVkc+a92G/vfQvr/ALmIKnOjhAEAQBAEAQHrwmgdik0UMO2R4bfba51nuAueS9Qi5yUV0kfKvjj0ytlwimz6Lw6hjw2JkVGNFjBotHxPEnae9X0YqK0Rye++d9jsserZzq6llGx0lU4NY0Xc47AF9lJRWrPNVU7ZqEFq3wKRU51KSNxEEcrx7VmtB7gTfxsobzoJ7kzY6+SuVKOspRXZv9D00Oc2hqTabpIu17Lj9wleo5tb47jDdyZza1rHSXc/XQkMrMdjiw+eahka8OaY2PY4HrP6uojeLk8l7utSqckyLszAslnwqsi1o9Wmuhb/AD4GCKlOnhAEAQBAEAQBAEBs2azKP50g+T1RvNCNV9ro9gP6vo/s8VbYd3PjzXxRz3lHs77Pd7aC92Xk/wB+PiXlTDWwgCAIAgPn7LfGfnyslkabxg6EXDQbquO83d+sqPIs9pY2dT2RhfZMSMGt73vvfpw+BArCWYQBAEAQBAEBZ82lvnKm0v8AmW7+iepGJ+Kil5Qa/wCH2adnzRvCujmZXsvsMkxeiljodb+q4N9rRcCR36tXaAsGTBzraRa7Fyq8bMjZZw3rXq1MDljMJLZQWuBsWkWIPAg7FSNacTp8ZKS1i9UcUPQuh8CH0IAgCAIAgCAIAgJTJnF3YHUxTM2NNnjiw6nDw2doCyVWezmpELaGJHLx5VPpW7v6P51H0RFIJmtdEbtIBBG8HWCr1PXecolFxbi+KOa+nkIAgK/l5ifzVQzvYbOcOjZ3v6tx2gXPJYMmfMrbLTYuL9ozYRfBPV/D+aGAKkOpBAEAQBAEAQBAevCK92FTRTQ+lG4OtxttHcRcc16hNwkpIj5WPHIplVLhJaH0ThWIx4rEyajN2PFx2cQeBGwq+hNTjzkcoycezHtdVi0aPWvRgIbHcl6XHteIRgvtYSt6rxzG3uNwsVlELPvIsMPamTifhS3dT3rw9NGZ1j2a6alu7BniVv5t1mv5H0XeSgWYMlvhvNswuVFNmkciPNfWt69V5lCqIH0ziypaWvGpzXAgjvB2KC009GbPCyNkVKD1T6UdaHsIAgCAIAgCAIAgCA2/NbivzjRNZIbuhJjP6O1nKx0f1VcYc+dXp1HOOUeL7HMclwmtfj0+vxLgpRQBAEBmeeits2lhG8ukP6oDW/xOVfny3KJuHJOn3rLexLx3v5IyxVpuwQBAEAQBAEAQBAT2SuVU+TTyabrRuN3wuPVPaPZd2+N1mpvlU93ArNpbKpzo6T3SXB9P7rs8DW8n8uKPGgA1/RSH8lIQ03+ydjuWvsVpVk1z6dGaJm7Dy8XVuPOj1rf4rivl2lmUgpwgK5lhknFlJGbgNnA+jltr1bGu4t917hYL6I2rtLbZW1rcGxb9YPivqu359Jg9TTupXuZUDRe0lrmncQbEKlaaejOm12Rsgpxeqa1R1r4ewgCAIAgCAIAgCA0HM3XGKpmhOx8elzYRbyefBTsGWk3E1XlXQpY8LelPTx/2RrytDQwgCAxnPBLp1rBubC0eLnn4+Sqc5/5nwOg8lo6YbfXJ/JFGUM2UIAgCAIAgCAIAgCAICewDLCrwOwpZC6MfkX9ZtuA3t5WWavInXwe4q83Y+Ll6ucdJda3P9/ibVktjzMo4GzU40TfRewm+i4WuL7xrBB4FW9Nqsjzkc82jgTwr3VLf0p9aJdZSAYlnYoxS15cz8pGyQ9+tn8ip82OlvedG5NXOzBSf5W18n9SmqKbAEAQBAEAQBAEAQFlzcSmHEaa28vaebHj/AO7lIxXpain29BS2fZ8PJo3pXRzEIAgMQzr3+cH39iO3h/dU+Z+KdH5NafYF3sp6il+EAQBAEAQBAEB2U0Dql7GQ63OcGtHa42HvX1LV6I8WTVcHOXBLXwLxjea+poxpYW4Ti2tupjr77AmxHO6mWYU4/d3mt4fKfHtely5nmvXyKZWYfNQG1bE+M8Hsc33hRJQlHijYasiq5a1yUu5pnVTwPqXBtO1z3HY1oLieQXlJvcj3OyMFzpvRdpt2bXAZMCpiK8WkkdplnsiwAB7dV+auMSp1w97pOc7fz68vJXst6itNev8AYtqlFEYlnZqxU15az8nGyM9/Wf8AzqozZa29x0XkzU68HV/mk38l9CmqIbCEAQBAEAQBAEAQE5kPf5fSaP5xv9Vmx/xY95W7Y0+w26/0s+g1eHKwgCAxfO8zQrmk74WH954+Cqc5f5nwOhcl5a4TXVJ/JFIUM2QIAgCAIAgCAIC05s6AV9fDp2tGDKQeLfR5hxaeSk4kOdauwpOUGQ6cGWnGWi8ePlqbsrk5ofhGl6SH1PQ/GsDPQAHcE0Dk3xZyQ+EDldlNFk3EXSkGVwPRRb3HieDRvPxWG+5VR1fEs9mbMszrebHdFcX1fv1GB1dS6se+SoN3vcXOPEk3KpJNyerOn1VxqgoQWiS0R1L4ZAgCAIAgCAIAgCAsebuPpMRpQPacfBjz8FnxVrbEqNuy5uz7X2LzaN8V2cwCAIDLM9NIQ6llA1EPjJ7iHNHm7wVbnx3qRuvJK73bKu5/R/QzNV5uIQBAEAQBAEAQHOCd1M4Op3FrhrDmkgjuI1hE2nqjxOEZxcZLVPoZdMJznVlGAK0MnbxcNF3i3V4hTIZtkeO817J5MYlr1rbg/FeD9S45NZxI8cmjgML2Pfex0g5os0uO4HcpVWWrJKOhQbQ5O2YlMrueml2aPe9O0u6mGuGXZZ5wqmhnmp8OaxmgdHpT1nbBrAOocwVXX5c4ycYm6bJ5PY9tML7W3qtdOC9fNGb1lXJXPc+se57ztc43Kr5ScnqzbqqoVQUK1ol0I6V8MgQBAEAQBAEAQBAEBeM0NJ09a59tUcbjftcQ0eRd4KZhR1s16ka3you5mGof1SXlv9DZ1bHPQgCAqmczDDiVDIYxd0REo7m3Dv3S48lGy4c6t9m8u+T+SqM2KfCXu+PDz0MLVMdLCAIAgCAIAgCAIAgLBkDVMoq+nfVuDGAvu9xsBeN4Fzu1kLPjSUbU2VW2qp24NkILVvTcu9G0/wCJ6H/dQfes/FW3t6/6l4nPP8MzP7Uv0sw/LKpZWVtS+lcHMLzouGw6gLjiNSp75KVjaOkbKqnVh1wmtGkQyxFgEAQBAEAQBAEAQBAEBsOZ/CzS00k8g1zOs39FlwD4l3grXBhpBy6zQeVOUrMiNK/Kt/e/20L8ppq4QBAfjmh4IdrB1EIfU2nqjAMtcn3ZPVL2AHonXfC7i0nZfi3YeR3qjyKvZz06Og6jsjaCzcdT/Mt0u/8Afj5dBALCWgQBAEAQBAEAQBAEAQBAEAQBAEAQBAEAQBAEBI5PYO/HZ44ab1j1nWuGtHpOPd77DevdVbskooh52ZDEolbPo4dr6F/O8+iKKlZQxsjphZjGhrR2AWCvoxUVojlNtsrZuyfFvVncvpjCAIAgIjKfAIsooTFVajtjkA1sdxHEbiN/msV1Ssjoyds/PswrlZD4rrX84GE4/gc2ASmPEG2PqvHovHFp3+8KmsqlW9JHTMLOpzK/aVPvXSu8jVjJgQBAEAQBAEAQBAEAQBAEAQBAEAQBAEAQHrwrDJcXkbFh7C953DcN5J3DtXqEJTekSPk5NWNW7LXol/N3abnkbktHkzFZtnTOsZZOP2W8Gjz291zRQqo9pzbau1J51uvCK4L6vtLCs5VBAEAQBAEB48UwyHF4zHiLA9h3HceII1tPaF4nCM1pJGfGyrcaftKpaP8AnHrMyyhzXSQXfgT+kb+aeQHjud6LudlX24LW+G83LB5UVz0jkrmvrXDw4rzKFX4fLhztGvjfG7g9pbfuvtHcoUoSi9JI2enIqujzqpKS7GeZeTMEAQBAEAQBAEAQBAEAQBAEAQBAd1JRyVrtGjY57vZY0uPgF9jFyeiRiturqjzrJJLteheMn82E9ZZ2MO6FnsCznn4N8+5TKsKUt89xrmdynoq92hc99fBer/m81DBMDgwJmhhrA0es7a5x4uO0+4blY11RrWkUaZmZ1+XPn3S1+S7kSKyEQIAgCAIAgCAIAgOqppmVTS2qY17Tta5ocDyK+NJrRnuuydcudBtPsehWsRze4fXXLYjE4+tE4t/dN2+SjyxKpdGhcUcoc6rc5c5dq18+PmV6szSsP1GpcOx7A7zaR7lglgLoZa1crZr8StfB6fPX5kNUZq6xl+hkhcN3WeD4FtvNYXg2dDRYQ5VYj+9GS+C9foRs2b3EYjqg0hxbJH8XXWN4lq6CXDlDs+X59Pg/Q8kuRmIRelTScrO/hJXl41q/KZ47ZwZcLV8vmeeTJmtj9Oln5RPPuC8umxflfgZo7Tw5cLY/qR1HAasbaaf7mT8F89lP+l+B7+34v92P6l6nE4JVDbTzfdP/AAT2U+p+B9+2439yP6kBglUdlPN90/8ABPZz6n4D7bjf3I/qRyGA1Z2U0/3Mn4J7Kf8AS/A+fb8X+7H9S9TsjybrZPQpZ/unj3hfVTZ/S/A8S2lhx42x/Uj0RZG18vo00nMBvvIXpY9r/KYpbZwY8bV8/keqLN9iUn5C3aZIx/NdeliWvo+Rglyg2fH/AFPKXoScGaytk/1XwtG+7nE+TbLIsGzsIk+VOGvuqT+C9SYo80oH16pJ7GMt5uJ9yyxwOuRX28rX/p1eL+i9Sfw7NzQUVjIx0pG+R5Pk2wPMLPHDqj0alXfyjzrdykorsX1erLPR0UVC3Roo2Rt9ljQ0eAUiMVFaJFPbdZbLnWSbfa9TvXoxBAEAQBAEAQBAEAQBAEAQBAEAQBAEAQBAEAQBAEAQBAEAQBAEAQBAEAQBAf/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data:image/jpeg;base64,/9j/4AAQSkZJRgABAQAAAQABAAD/2wCEAAkGBxIHEhETBxQWFRIXFxgVExEVFRcXGhgaGBgWGBkbGxwYHSggGBonJxYYITItJjUrLi4wFx8zOD8sNygtLisBCgoKDg0OGxAQGzQlICYsLDQvNDQtLDQ3MjcsNCw2NDcsLCw1LCwsLTQ0LCwsLCwsLCwsLDQ0Ni0sLCwsLCwsLP/AABEIAOEA4QMBEQACEQEDEQH/xAAcAAEAAwADAQEAAAAAAAAAAAAABQYHAgMECAH/xABJEAABAwIBCAYFBwoEBwAAAAABAAIDBBEFBgcSITFBUYETImFxkaEyQlKxwRQVIzRik9FDU3KCkqKywuHxFiQzVDVjc4Oz0vD/xAAbAQEAAgMBAQAAAAAAAAAAAAAABAUDBgcCAf/EAD4RAAICAQEDCQUHAgQHAAAAAAABAgMEEQUhMQYSQVFhcZGh0RMigbHBFDIzQpLh8FJTFSND8RY0NWJygrL/2gAMAwEAAhEDEQA/ANxQBAEAQBAEAQBAEAQBAcJpWwNc6YgNaC5zjqAAFyT2L43otWeoxc5KMVq2YxlZnBqMTe5uEvdDADZpb1Xv+0XbW9wt23VTdlyk9I7kdB2ZyfoogpXpSn28F2JcH3siMJywrcLeHRTveN8crnPaeROrlYrFDIsg9dSfk7Hw8iPNcEu1JJ+X1NsyZx2PKGBs1NqOx7L3LHDaO3iOIIVvVarI85HO9oYM8K91T+D60SqykEIAgCAIAgCAIAgCAIAgCAIAgCAIAgCAIAgCAIAgCAo+djGhQ0vQRu+kmIBAOsMBu49xsG9tyoebZzYc3pZsnJrCduT7Zr3YfPo9TGFUnQggLtmpxr5uqjFO60cw0dezTHoeNy3vcFLw7ObPmvpNc5SYXt8b2sVvhv8Ah0+ptKtznhUMoM4dJhDiyG88g2iMjRB4F2zwuotuXCG5b2X2Dyeyslc+XuR7ePh66FdhztnSHTUw0L69GS7gObbHyUdZ+/fEtpcklzfdt39275mk0FYzEI45aU3Y9oc09h9xVhGSkk0ahdTOmyVc+KejPQvRiCAIAgCAIAgCAIAgCAIAgCAIAgCA8GOYtFgkL5q4nRbuGsuJ1AAcSvFlirjzmSsPEsyrlVXxfl3mb1GdmUuPyanYG7tJ5J8rKvee+hG218k69PfsevYl+5+NztSj06ZnJ7h8E+3y6j6+SVXRY/BHlrs6lXMCKOOKO4PWsXkdoubeIK8yzpvgtDPTyVxYvWyTl5fv5opVfXSYi90lc8vedrnG/wDYdgUOUnJ6s2GmiuiChWtEjzr4ZggANtiHwlKrKOsq2dHU1ErmWtol51j7Xtc7rI7rGtGyHXs7Ernz4VpPu+XV8CLWMmhAfQuRlG7D6Gljm1ODASDtBcS6x7RpW5K8oi41pM5Vta6N2ZZOPDX5bvoTSzFcEAQBAEAQBAEAQBAEAQBAEAQBAEBTc69C6soS6HX0UjZHAezZzT4ad+4FRM2LlXu6DYOTV8as3SX5k0u/c/poYkqg6MEAQBAEAQBAEAQFmzeYJ89VjBKLxx/SycDokaLeZI5AqRi18+zfwRTbdzfsuI3H70ty+PF/BeehvKujmQQBAEAQBAEAQBAEAQBAEAQBAEAQBAcJomztc2YXa4Frgd4IsQvjWq0Z6hNwkpR4o+dco8KOC1M0EnqO6p4tOtp8CFQ2w5k3E6xgZSyseFy6Vv7+nzI1eCYEAQBAEAQBAEBs2aTC/kdIZnjrTOJB36LLtaPHSPNW2FDSHO6znvKfK9plKpcILze/0LyphrYQBAEAQBAEAQBAEAQBAEAQBAEAQBAEBmOeTCLiGqiGz6KTu1uYf4hzCrs6vhM3Lkrmb540u9fX6eZlyrjdAgCAIAgCAID9Y0vIDNZJsB3ofG0lqz6UwqjGHwxRR7GMaz9kALYIR5sUjkGTc7rpWPpbfiepejCEAQBAEAQBAEAQBAEAQBAEAQBAEAQBAR+P4Y3GKeaCX12kA8HbWnkQDyXiyHPi4krCyXjXwuXQ/Lp8j5zmidA5zZhZzSWuB3EGxCoGtHozrUJqcVKPBnBD0EAQBAEAQErkpB8prKRvGaO/cHAnyBWSla2RXaQdpWczEtl/2v5H0Ur45OEAQBAEAQBAEAQBAEAQBAEAQBAEAQBAEAQGLZ1sF+bqrpoh9HONLueLBw56ncyqjMr5s+cuk6HyazfbY3spcYbvg+HoUlRDYwgCAIAgCAsGQDS7EKTQFzp35BrifK5WfG/FiVW22lgW69X1Rv6uzlwQBAEAQBAEAQBAEAQBAEAQBAEAQBAEAQBARWUmBRZQwmGsuNek142tcL2I8SOax21KyPNZNwM+zCu9rX8V1oyfGM29bQEmkDZ2biw2dbta7f3XVXPDsjw3m84vKTDuXvvmPt4eK+uhV6zDpqH67FJH+mxzfeFHlCUeKLmrJpt/Dmn3NM8q8mcIDtpqWSrOjSsc93BjS4+AX1Rb4GOy2Fa1nJJdr0LPhGbyuxEgysELPalNjbsaLuv32UiGJZLitCmyuUOFSvdlzn1L14fM1DJPI+DJoXi68xFnTOFuTR6o8+1WNOPGrhxNM2nti7Oekt0VwXq+l/zQsakFSEAQBAEAQBAEAQBAEAQBAEAQBAEAQBAEB+E22oCLjyko5ZehiqIzLuaHA3PC+zS7NqxK6ty5uu8my2blxq9q63ze76cdO3gSqykIHXtQHjnwqnqfrEMTv0o2n3heHXF8USIZd8PuTa7mzqiwCkiN4qaBp4iGMe4L4qoLhFeB7ln5UlpK2T/9n6nvYwRi0YAHACyyaEVycnqzkh8OqqqWUjXPqnBjGi7nOIAHMr42ktWe6652SUILVvoRnmI51o4JtGhh6SEajIXaBd2tFjq79vYoMs5KW5ao2ujkpOVWtk+bLq0107/28yfwXL6hxWw6Tonn1JbN8HX0T43WavKrn06FXl7AzMffzecuuO/y4+RaAb7FJKU/UAQBAEAQBAEAQBAEAQBAEAQBAEBTcp84dPg92UVp5hqs09Rp+07eeweSiXZcIblvZsGzuT2Rk6Ts9yPbxfcvq/MyzHsqqvHifl0h0N0TOqwcvW53VbZfOzizdcLZWLiL/Ljv63vfj0fDQhViLEs+CZeVuEANbJ0jBsZLd1u519IeNlIryrIbtdSmy9g4eS+c4819a3eXDyLdRZ2Y3fX6dze2N4d5OtbxUqOevzIobuSdi/CsT71p8tSUizn0Dxd/StPAsHwcVkWbX2kKXJjNT3c1/H9jmc5lAN8n3f8AVffttR5/4ZzupeJ5KjOrSMv0EUzjuuGNH8RPkvLzodCZIr5K5T+9KK8X9CBxDOvPKLYfCyP7TnGQ8tTRfvusEs+T+6tCzo5KURets3LuWnqUzF8cqMadpYnK59tgOpo7mjUFEnbOf3mbBi4OPirSmKXz8eJHrwSwgJzJ/KyqwCwon3j/ADL+szkNreVlmqvnXwZWZ2ycXM32R39a3P8Af46mrZL5fU2OWZP9DMdWg49Vx+y7YT2Gx71ZU5ULNz3M0naOwMjE1nH3oda6O9fXgW1SiiCAIAgCAIAgCAIAgCAIAgPLiWIRYXG6WveGMbtcfcBtJ7BrXmU1FayM1GPZfYq6lq2Y9lhl/NjWlHh14qfZwe8faI2DsHO6qr8uU90dyN+2VsCrF0st96fku718NClqIbEEAQBAEAQBAEAQBAEAQBAEBe8j84kuF6MWMXlh2B+17B/O3sOvhwUyjLcN0t6NZ2pydryNbKPdn1dD9H5fM12irI69jZKNwexwu1zTcH+qtYyUlqjQ7qZ0zcLFo10HevpjCAIAgCAIAgCAIAgI7HcZiwKF01ebNGoNHpOdua0byf67FjssjXHnSJWHh25dqqqW/wCS62YZlTlNNlJJpVR0WD/ThB6rR8XcT7hqVNddK16s6Xs7ZlODXzYb2+L6X6LsIRYixCAIAgCAIDnDE6dzWwguc4gNaBcknYAN5RJt6I8znGEXKT0SJf8AwlX/AO1l/YKy/Z7f6WQP8Wwv7sfEiqqmfRvcyqaWPbqc1wII5FY2mnoybXZCyKnB6p9KOpfDIEAQBAEAQBAT+SOVUuTUl4utC4/SQk6j2jg7t8VmovlU93Aq9p7Kqzq9JbpLg/5xRuWDYrFjUTZcPdpMPi072uG4hXNdkZx50Tm2ViW4trqtWjXn2rsPcvZGCAIAgCAIAgCA8uJV8eFxPlrXaLGC5PuA4k7B3rzOaguczNj0WX2KqtatmCZWZRSZSTGSa4YLiKO+pjf/AGO8/ABUl1ztlqzp+zNnV4NPMjxfF9b9Or/chViLEIAgCAIAgCAmsi/r9J/1We9ZaPxI95XbW/5K3/xZ9Cq9OVGDZyv+JVX/AG//ABRqly/xn/Og6byf/wCn1/H/AOmVlRy5CAIAgCAIAgCAnckcppMmpdOLrRu1SxX1OHEcHDcVmoudUtVwKzamzK86rmy3SXB9X7dZvOG18eJxMlonaTHi7T7weBGw9yuoTUlzkcyyKLKLHVYtGj0r0YQgCAIAgCAIDFM5WVPz1N0NIf8ALxHaPXeLgu7hrA5neqjLv58uauCOicn9l/ZavazXvyXgur6vw6ClqIbEEAQBAEAQBAWPJHI+bKU3j6kINnTEX5NHrH3LPRjyt7io2ptinBWj3yfBevUjWMCyIo8FLXQs05W6xLIdI3G8D0RyCs68auG9LeaPmbby8pOMpaRfQv5q/EsikFQeOswqCu+uwxyHi+Nrj4kLxKEZcUSKsq+r8ObXc2isY1m3oq8E0gMD/aYbt5tO7uso9mHXLhuLjE5SZlLSn767ePivrqYrI0MJDTcAkAjf2qoZ0SL1SbOKHoIAgCAIAgCAuObnKo4HL0VY7/LyHrX2MdsD+wbj47lKxb/Zy0fBmv7e2V9rq9pWvfj5rq9PDpNuVwc5CAIAgCAICn5zMoTg1N0dMbTTXY0ja1vru7DrAHffcouXbzIaLiy/5PbPWVkc+a92G/vfQvr/ALmIKnOjhAEAQBAEAQHrwmgdik0UMO2R4bfba51nuAueS9Qi5yUV0kfKvjj0ytlwimz6Lw6hjw2JkVGNFjBotHxPEnae9X0YqK0Rye++d9jsserZzq6llGx0lU4NY0Xc47AF9lJRWrPNVU7ZqEFq3wKRU51KSNxEEcrx7VmtB7gTfxsobzoJ7kzY6+SuVKOspRXZv9D00Oc2hqTabpIu17Lj9wleo5tb47jDdyZza1rHSXc/XQkMrMdjiw+eahka8OaY2PY4HrP6uojeLk8l7utSqckyLszAslnwqsi1o9Wmuhb/AD4GCKlOnhAEAQBAEAQBAEBs2azKP50g+T1RvNCNV9ro9gP6vo/s8VbYd3PjzXxRz3lHs77Pd7aC92Xk/wB+PiXlTDWwgCAIAgPn7LfGfnyslkabxg6EXDQbquO83d+sqPIs9pY2dT2RhfZMSMGt73vvfpw+BArCWYQBAEAQBAEBZ82lvnKm0v8AmW7+iepGJ+Kil5Qa/wCH2adnzRvCujmZXsvsMkxeiljodb+q4N9rRcCR36tXaAsGTBzraRa7Fyq8bMjZZw3rXq1MDljMJLZQWuBsWkWIPAg7FSNacTp8ZKS1i9UcUPQuh8CH0IAgCAIAgCAIAgJTJnF3YHUxTM2NNnjiw6nDw2doCyVWezmpELaGJHLx5VPpW7v6P51H0RFIJmtdEbtIBBG8HWCr1PXecolFxbi+KOa+nkIAgK/l5ifzVQzvYbOcOjZ3v6tx2gXPJYMmfMrbLTYuL9ozYRfBPV/D+aGAKkOpBAEAQBAEAQBAevCK92FTRTQ+lG4OtxttHcRcc16hNwkpIj5WPHIplVLhJaH0ThWIx4rEyajN2PFx2cQeBGwq+hNTjzkcoycezHtdVi0aPWvRgIbHcl6XHteIRgvtYSt6rxzG3uNwsVlELPvIsMPamTifhS3dT3rw9NGZ1j2a6alu7BniVv5t1mv5H0XeSgWYMlvhvNswuVFNmkciPNfWt69V5lCqIH0ziypaWvGpzXAgjvB2KC009GbPCyNkVKD1T6UdaHsIAgCAIAgCAIAgCA2/NbivzjRNZIbuhJjP6O1nKx0f1VcYc+dXp1HOOUeL7HMclwmtfj0+vxLgpRQBAEBmeeits2lhG8ukP6oDW/xOVfny3KJuHJOn3rLexLx3v5IyxVpuwQBAEAQBAEAQBAT2SuVU+TTyabrRuN3wuPVPaPZd2+N1mpvlU93ArNpbKpzo6T3SXB9P7rs8DW8n8uKPGgA1/RSH8lIQ03+ydjuWvsVpVk1z6dGaJm7Dy8XVuPOj1rf4rivl2lmUgpwgK5lhknFlJGbgNnA+jltr1bGu4t917hYL6I2rtLbZW1rcGxb9YPivqu359Jg9TTupXuZUDRe0lrmncQbEKlaaejOm12Rsgpxeqa1R1r4ewgCAIAgCAIAgCA0HM3XGKpmhOx8elzYRbyefBTsGWk3E1XlXQpY8LelPTx/2RrytDQwgCAxnPBLp1rBubC0eLnn4+Sqc5/5nwOg8lo6YbfXJ/JFGUM2UIAgCAIAgCAIAgCAICewDLCrwOwpZC6MfkX9ZtuA3t5WWavInXwe4q83Y+Ll6ucdJda3P9/ibVktjzMo4GzU40TfRewm+i4WuL7xrBB4FW9Nqsjzkc82jgTwr3VLf0p9aJdZSAYlnYoxS15cz8pGyQ9+tn8ip82OlvedG5NXOzBSf5W18n9SmqKbAEAQBAEAQBAEAQFlzcSmHEaa28vaebHj/AO7lIxXpain29BS2fZ8PJo3pXRzEIAgMQzr3+cH39iO3h/dU+Z+KdH5NafYF3sp6il+EAQBAEAQBAEB2U0Dql7GQ63OcGtHa42HvX1LV6I8WTVcHOXBLXwLxjea+poxpYW4Ti2tupjr77AmxHO6mWYU4/d3mt4fKfHtely5nmvXyKZWYfNQG1bE+M8Hsc33hRJQlHijYasiq5a1yUu5pnVTwPqXBtO1z3HY1oLieQXlJvcj3OyMFzpvRdpt2bXAZMCpiK8WkkdplnsiwAB7dV+auMSp1w97pOc7fz68vJXst6itNev8AYtqlFEYlnZqxU15az8nGyM9/Wf8AzqozZa29x0XkzU68HV/mk38l9CmqIbCEAQBAEAQBAEAQE5kPf5fSaP5xv9Vmx/xY95W7Y0+w26/0s+g1eHKwgCAxfO8zQrmk74WH954+Cqc5f5nwOhcl5a4TXVJ/JFIUM2QIAgCAIAgCAIC05s6AV9fDp2tGDKQeLfR5hxaeSk4kOdauwpOUGQ6cGWnGWi8ePlqbsrk5ofhGl6SH1PQ/GsDPQAHcE0Dk3xZyQ+EDldlNFk3EXSkGVwPRRb3HieDRvPxWG+5VR1fEs9mbMszrebHdFcX1fv1GB1dS6se+SoN3vcXOPEk3KpJNyerOn1VxqgoQWiS0R1L4ZAgCAIAgCAIAgCAsebuPpMRpQPacfBjz8FnxVrbEqNuy5uz7X2LzaN8V2cwCAIDLM9NIQ6llA1EPjJ7iHNHm7wVbnx3qRuvJK73bKu5/R/QzNV5uIQBAEAQBAEAQHOCd1M4Op3FrhrDmkgjuI1hE2nqjxOEZxcZLVPoZdMJznVlGAK0MnbxcNF3i3V4hTIZtkeO817J5MYlr1rbg/FeD9S45NZxI8cmjgML2Pfex0g5os0uO4HcpVWWrJKOhQbQ5O2YlMrueml2aPe9O0u6mGuGXZZ5wqmhnmp8OaxmgdHpT1nbBrAOocwVXX5c4ycYm6bJ5PY9tML7W3qtdOC9fNGb1lXJXPc+se57ztc43Kr5ScnqzbqqoVQUK1ol0I6V8MgQBAEAQBAEAQBAEBeM0NJ09a59tUcbjftcQ0eRd4KZhR1s16ka3you5mGof1SXlv9DZ1bHPQgCAqmczDDiVDIYxd0REo7m3Dv3S48lGy4c6t9m8u+T+SqM2KfCXu+PDz0MLVMdLCAIAgCAIAgCAIAgLBkDVMoq+nfVuDGAvu9xsBeN4Fzu1kLPjSUbU2VW2qp24NkILVvTcu9G0/wCJ6H/dQfes/FW3t6/6l4nPP8MzP7Uv0sw/LKpZWVtS+lcHMLzouGw6gLjiNSp75KVjaOkbKqnVh1wmtGkQyxFgEAQBAEAQBAEAQBAEBsOZ/CzS00k8g1zOs39FlwD4l3grXBhpBy6zQeVOUrMiNK/Kt/e/20L8ppq4QBAfjmh4IdrB1EIfU2nqjAMtcn3ZPVL2AHonXfC7i0nZfi3YeR3qjyKvZz06Og6jsjaCzcdT/Mt0u/8Afj5dBALCWgQBAEAQBAEAQBAEAQBAEAQBAEAQBAEAQBAEBI5PYO/HZ44ab1j1nWuGtHpOPd77DevdVbskooh52ZDEolbPo4dr6F/O8+iKKlZQxsjphZjGhrR2AWCvoxUVojlNtsrZuyfFvVncvpjCAIAgIjKfAIsooTFVajtjkA1sdxHEbiN/msV1Ssjoyds/PswrlZD4rrX84GE4/gc2ASmPEG2PqvHovHFp3+8KmsqlW9JHTMLOpzK/aVPvXSu8jVjJgQBAEAQBAEAQBAEAQBAEAQBAEAQBAEAQHrwrDJcXkbFh7C953DcN5J3DtXqEJTekSPk5NWNW7LXol/N3abnkbktHkzFZtnTOsZZOP2W8Gjz291zRQqo9pzbau1J51uvCK4L6vtLCs5VBAEAQBAEB48UwyHF4zHiLA9h3HceII1tPaF4nCM1pJGfGyrcaftKpaP8AnHrMyyhzXSQXfgT+kb+aeQHjud6LudlX24LW+G83LB5UVz0jkrmvrXDw4rzKFX4fLhztGvjfG7g9pbfuvtHcoUoSi9JI2enIqujzqpKS7GeZeTMEAQBAEAQBAEAQBAEAQBAEAQBAd1JRyVrtGjY57vZY0uPgF9jFyeiRiturqjzrJJLteheMn82E9ZZ2MO6FnsCznn4N8+5TKsKUt89xrmdynoq92hc99fBer/m81DBMDgwJmhhrA0es7a5x4uO0+4blY11RrWkUaZmZ1+XPn3S1+S7kSKyEQIAgCAIAgCAIAgOqppmVTS2qY17Tta5ocDyK+NJrRnuuydcudBtPsehWsRze4fXXLYjE4+tE4t/dN2+SjyxKpdGhcUcoc6rc5c5dq18+PmV6szSsP1GpcOx7A7zaR7lglgLoZa1crZr8StfB6fPX5kNUZq6xl+hkhcN3WeD4FtvNYXg2dDRYQ5VYj+9GS+C9foRs2b3EYjqg0hxbJH8XXWN4lq6CXDlDs+X59Pg/Q8kuRmIRelTScrO/hJXl41q/KZ47ZwZcLV8vmeeTJmtj9Oln5RPPuC8umxflfgZo7Tw5cLY/qR1HAasbaaf7mT8F89lP+l+B7+34v92P6l6nE4JVDbTzfdP/AAT2U+p+B9+2439yP6kBglUdlPN90/8ABPZz6n4D7bjf3I/qRyGA1Z2U0/3Mn4J7Kf8AS/A+fb8X+7H9S9TsjybrZPQpZ/unj3hfVTZ/S/A8S2lhx42x/Uj0RZG18vo00nMBvvIXpY9r/KYpbZwY8bV8/keqLN9iUn5C3aZIx/NdeliWvo+Rglyg2fH/AFPKXoScGaytk/1XwtG+7nE+TbLIsGzsIk+VOGvuqT+C9SYo80oH16pJ7GMt5uJ9yyxwOuRX28rX/p1eL+i9Sfw7NzQUVjIx0pG+R5Pk2wPMLPHDqj0alXfyjzrdykorsX1erLPR0UVC3Roo2Rt9ljQ0eAUiMVFaJFPbdZbLnWSbfa9TvXoxBAEAQBAEAQBAEAQBAEAQBAEAQBAEAQBAEAQBAEAQBAEAQBAEAQBAEAQBAf/Z"/>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6" descr="data:image/jpeg;base64,/9j/4AAQSkZJRgABAQAAAQABAAD/2wCEAAkGBxIHEhETBxQWFRIXFxgVExEVFRcXGhgaGBgWGBkbGxwYHSggGBonJxYYITItJjUrLi4wFx8zOD8sNygtLisBCgoKDg0OGxAQGzQlICYsLDQvNDQtLDQ3MjcsNCw2NDcsLCw1LCwsLTQ0LCwsLCwsLCwsLDQ0Ni0sLCwsLCwsLP/AABEIAOEA4QMBEQACEQEDEQH/xAAcAAEAAwADAQEAAAAAAAAAAAAABQYHAgMECAH/xABJEAABAwIBCAYFBwoEBwAAAAABAAIDBBEFBgcSITFBUYETImFxkaEyQlKxwRQVIzRik9FDU3KCkqKywuHxFiQzVDVjc4Oz0vD/xAAbAQEAAgMBAQAAAAAAAAAAAAAABAUDBgcCAf/EAD4RAAICAQEDCQUHAgQHAAAAAAABAgMEEQUhMQYSQVFhcZGh0RMigbHBFDIzQpLh8FJTFSND8RY0NWJygrL/2gAMAwEAAhEDEQA/ANxQBAEAQBAEAQBAEAQBAcJpWwNc6YgNaC5zjqAAFyT2L43otWeoxc5KMVq2YxlZnBqMTe5uEvdDADZpb1Xv+0XbW9wt23VTdlyk9I7kdB2ZyfoogpXpSn28F2JcH3siMJywrcLeHRTveN8crnPaeROrlYrFDIsg9dSfk7Hw8iPNcEu1JJ+X1NsyZx2PKGBs1NqOx7L3LHDaO3iOIIVvVarI85HO9oYM8K91T+D60SqykEIAgCAIAgCAIAgCAIAgCAIAgCAIAgCAIAgCAIAgCAo+djGhQ0vQRu+kmIBAOsMBu49xsG9tyoebZzYc3pZsnJrCduT7Zr3YfPo9TGFUnQggLtmpxr5uqjFO60cw0dezTHoeNy3vcFLw7ObPmvpNc5SYXt8b2sVvhv8Ah0+ptKtznhUMoM4dJhDiyG88g2iMjRB4F2zwuotuXCG5b2X2Dyeyslc+XuR7ePh66FdhztnSHTUw0L69GS7gObbHyUdZ+/fEtpcklzfdt39275mk0FYzEI45aU3Y9oc09h9xVhGSkk0ahdTOmyVc+KejPQvRiCAIAgCAIAgCAIAgCAIAgCAIAgCA8GOYtFgkL5q4nRbuGsuJ1AAcSvFlirjzmSsPEsyrlVXxfl3mb1GdmUuPyanYG7tJ5J8rKvee+hG218k69PfsevYl+5+NztSj06ZnJ7h8E+3y6j6+SVXRY/BHlrs6lXMCKOOKO4PWsXkdoubeIK8yzpvgtDPTyVxYvWyTl5fv5opVfXSYi90lc8vedrnG/wDYdgUOUnJ6s2GmiuiChWtEjzr4ZggANtiHwlKrKOsq2dHU1ErmWtol51j7Xtc7rI7rGtGyHXs7Ernz4VpPu+XV8CLWMmhAfQuRlG7D6Gljm1ODASDtBcS6x7RpW5K8oi41pM5Vta6N2ZZOPDX5bvoTSzFcEAQBAEAQBAEAQBAEAQBAEAQBAEBTc69C6soS6HX0UjZHAezZzT4ad+4FRM2LlXu6DYOTV8as3SX5k0u/c/poYkqg6MEAQBAEAQBAEAQFmzeYJ89VjBKLxx/SycDokaLeZI5AqRi18+zfwRTbdzfsuI3H70ty+PF/BeehvKujmQQBAEAQBAEAQBAEAQBAEAQBAEAQBAcJomztc2YXa4Frgd4IsQvjWq0Z6hNwkpR4o+dco8KOC1M0EnqO6p4tOtp8CFQ2w5k3E6xgZSyseFy6Vv7+nzI1eCYEAQBAEAQBAEBs2aTC/kdIZnjrTOJB36LLtaPHSPNW2FDSHO6znvKfK9plKpcILze/0LyphrYQBAEAQBAEAQBAEAQBAEAQBAEAQBAEBmOeTCLiGqiGz6KTu1uYf4hzCrs6vhM3Lkrmb540u9fX6eZlyrjdAgCAIAgCAID9Y0vIDNZJsB3ofG0lqz6UwqjGHwxRR7GMaz9kALYIR5sUjkGTc7rpWPpbfiepejCEAQBAEAQBAEAQBAEAQBAEAQBAEAQBAR+P4Y3GKeaCX12kA8HbWnkQDyXiyHPi4krCyXjXwuXQ/Lp8j5zmidA5zZhZzSWuB3EGxCoGtHozrUJqcVKPBnBD0EAQBAEAQErkpB8prKRvGaO/cHAnyBWSla2RXaQdpWczEtl/2v5H0Ur45OEAQBAEAQBAEAQBAEAQBAEAQBAEAQBAEAQGLZ1sF+bqrpoh9HONLueLBw56ncyqjMr5s+cuk6HyazfbY3spcYbvg+HoUlRDYwgCAIAgCAsGQDS7EKTQFzp35BrifK5WfG/FiVW22lgW69X1Rv6uzlwQBAEAQBAEAQBAEAQBAEAQBAEAQBAEAQBARWUmBRZQwmGsuNek142tcL2I8SOax21KyPNZNwM+zCu9rX8V1oyfGM29bQEmkDZ2biw2dbta7f3XVXPDsjw3m84vKTDuXvvmPt4eK+uhV6zDpqH67FJH+mxzfeFHlCUeKLmrJpt/Dmn3NM8q8mcIDtpqWSrOjSsc93BjS4+AX1Rb4GOy2Fa1nJJdr0LPhGbyuxEgysELPalNjbsaLuv32UiGJZLitCmyuUOFSvdlzn1L14fM1DJPI+DJoXi68xFnTOFuTR6o8+1WNOPGrhxNM2nti7Oekt0VwXq+l/zQsakFSEAQBAEAQBAEAQBAEAQBAEAQBAEAQBAEB+E22oCLjyko5ZehiqIzLuaHA3PC+zS7NqxK6ty5uu8my2blxq9q63ze76cdO3gSqykIHXtQHjnwqnqfrEMTv0o2n3heHXF8USIZd8PuTa7mzqiwCkiN4qaBp4iGMe4L4qoLhFeB7ln5UlpK2T/9n6nvYwRi0YAHACyyaEVycnqzkh8OqqqWUjXPqnBjGi7nOIAHMr42ktWe6652SUILVvoRnmI51o4JtGhh6SEajIXaBd2tFjq79vYoMs5KW5ao2ujkpOVWtk+bLq0107/28yfwXL6hxWw6Tonn1JbN8HX0T43WavKrn06FXl7AzMffzecuuO/y4+RaAb7FJKU/UAQBAEAQBAEAQBAEAQBAEAQBAEBTcp84dPg92UVp5hqs09Rp+07eeweSiXZcIblvZsGzuT2Rk6Ts9yPbxfcvq/MyzHsqqvHifl0h0N0TOqwcvW53VbZfOzizdcLZWLiL/Ljv63vfj0fDQhViLEs+CZeVuEANbJ0jBsZLd1u519IeNlIryrIbtdSmy9g4eS+c4819a3eXDyLdRZ2Y3fX6dze2N4d5OtbxUqOevzIobuSdi/CsT71p8tSUizn0Dxd/StPAsHwcVkWbX2kKXJjNT3c1/H9jmc5lAN8n3f8AVffttR5/4ZzupeJ5KjOrSMv0EUzjuuGNH8RPkvLzodCZIr5K5T+9KK8X9CBxDOvPKLYfCyP7TnGQ8tTRfvusEs+T+6tCzo5KURets3LuWnqUzF8cqMadpYnK59tgOpo7mjUFEnbOf3mbBi4OPirSmKXz8eJHrwSwgJzJ/KyqwCwon3j/ADL+szkNreVlmqvnXwZWZ2ycXM32R39a3P8Af46mrZL5fU2OWZP9DMdWg49Vx+y7YT2Gx71ZU5ULNz3M0naOwMjE1nH3oda6O9fXgW1SiiCAIAgCAIAgCAIAgCAIAgPLiWIRYXG6WveGMbtcfcBtJ7BrXmU1FayM1GPZfYq6lq2Y9lhl/NjWlHh14qfZwe8faI2DsHO6qr8uU90dyN+2VsCrF0st96fku718NClqIbEEAQBAEAQBAEAQBAEAQBAEBe8j84kuF6MWMXlh2B+17B/O3sOvhwUyjLcN0t6NZ2pydryNbKPdn1dD9H5fM12irI69jZKNwexwu1zTcH+qtYyUlqjQ7qZ0zcLFo10HevpjCAIAgCAIAgCAIAgI7HcZiwKF01ebNGoNHpOdua0byf67FjssjXHnSJWHh25dqqqW/wCS62YZlTlNNlJJpVR0WD/ThB6rR8XcT7hqVNddK16s6Xs7ZlODXzYb2+L6X6LsIRYixCAIAgCAIDnDE6dzWwguc4gNaBcknYAN5RJt6I8znGEXKT0SJf8AwlX/AO1l/YKy/Z7f6WQP8Wwv7sfEiqqmfRvcyqaWPbqc1wII5FY2mnoybXZCyKnB6p9KOpfDIEAQBAEAQBAT+SOVUuTUl4utC4/SQk6j2jg7t8VmovlU93Aq9p7Kqzq9JbpLg/5xRuWDYrFjUTZcPdpMPi072uG4hXNdkZx50Tm2ViW4trqtWjXn2rsPcvZGCAIAgCAIAgCA8uJV8eFxPlrXaLGC5PuA4k7B3rzOaguczNj0WX2KqtatmCZWZRSZSTGSa4YLiKO+pjf/AGO8/ABUl1ztlqzp+zNnV4NPMjxfF9b9Or/chViLEIAgCAIAgCAmsi/r9J/1We9ZaPxI95XbW/5K3/xZ9Cq9OVGDZyv+JVX/AG//ABRqly/xn/Og6byf/wCn1/H/AOmVlRy5CAIAgCAIAgCAnckcppMmpdOLrRu1SxX1OHEcHDcVmoudUtVwKzamzK86rmy3SXB9X7dZvOG18eJxMlonaTHi7T7weBGw9yuoTUlzkcyyKLKLHVYtGj0r0YQgCAIAgCAIDFM5WVPz1N0NIf8ALxHaPXeLgu7hrA5neqjLv58uauCOicn9l/ZavazXvyXgur6vw6ClqIbEEAQBAEAQBAWPJHI+bKU3j6kINnTEX5NHrH3LPRjyt7io2ptinBWj3yfBevUjWMCyIo8FLXQs05W6xLIdI3G8D0RyCs68auG9LeaPmbby8pOMpaRfQv5q/EsikFQeOswqCu+uwxyHi+Nrj4kLxKEZcUSKsq+r8ObXc2isY1m3oq8E0gMD/aYbt5tO7uso9mHXLhuLjE5SZlLSn767ePivrqYrI0MJDTcAkAjf2qoZ0SL1SbOKHoIAgCAIAgCAuObnKo4HL0VY7/LyHrX2MdsD+wbj47lKxb/Zy0fBmv7e2V9rq9pWvfj5rq9PDpNuVwc5CAIAgCAICn5zMoTg1N0dMbTTXY0ja1vru7DrAHffcouXbzIaLiy/5PbPWVkc+a92G/vfQvr/ALmIKnOjhAEAQBAEAQHrwmgdik0UMO2R4bfba51nuAueS9Qi5yUV0kfKvjj0ytlwimz6Lw6hjw2JkVGNFjBotHxPEnae9X0YqK0Rye++d9jsserZzq6llGx0lU4NY0Xc47AF9lJRWrPNVU7ZqEFq3wKRU51KSNxEEcrx7VmtB7gTfxsobzoJ7kzY6+SuVKOspRXZv9D00Oc2hqTabpIu17Lj9wleo5tb47jDdyZza1rHSXc/XQkMrMdjiw+eahka8OaY2PY4HrP6uojeLk8l7utSqckyLszAslnwqsi1o9Wmuhb/AD4GCKlOnhAEAQBAEAQBAEBs2azKP50g+T1RvNCNV9ro9gP6vo/s8VbYd3PjzXxRz3lHs77Pd7aC92Xk/wB+PiXlTDWwgCAIAgPn7LfGfnyslkabxg6EXDQbquO83d+sqPIs9pY2dT2RhfZMSMGt73vvfpw+BArCWYQBAEAQBAEBZ82lvnKm0v8AmW7+iepGJ+Kil5Qa/wCH2adnzRvCujmZXsvsMkxeiljodb+q4N9rRcCR36tXaAsGTBzraRa7Fyq8bMjZZw3rXq1MDljMJLZQWuBsWkWIPAg7FSNacTp8ZKS1i9UcUPQuh8CH0IAgCAIAgCAIAgJTJnF3YHUxTM2NNnjiw6nDw2doCyVWezmpELaGJHLx5VPpW7v6P51H0RFIJmtdEbtIBBG8HWCr1PXecolFxbi+KOa+nkIAgK/l5ifzVQzvYbOcOjZ3v6tx2gXPJYMmfMrbLTYuL9ozYRfBPV/D+aGAKkOpBAEAQBAEAQBAevCK92FTRTQ+lG4OtxttHcRcc16hNwkpIj5WPHIplVLhJaH0ThWIx4rEyajN2PFx2cQeBGwq+hNTjzkcoycezHtdVi0aPWvRgIbHcl6XHteIRgvtYSt6rxzG3uNwsVlELPvIsMPamTifhS3dT3rw9NGZ1j2a6alu7BniVv5t1mv5H0XeSgWYMlvhvNswuVFNmkciPNfWt69V5lCqIH0ziypaWvGpzXAgjvB2KC009GbPCyNkVKD1T6UdaHsIAgCAIAgCAIAgCA2/NbivzjRNZIbuhJjP6O1nKx0f1VcYc+dXp1HOOUeL7HMclwmtfj0+vxLgpRQBAEBmeeits2lhG8ukP6oDW/xOVfny3KJuHJOn3rLexLx3v5IyxVpuwQBAEAQBAEAQBAT2SuVU+TTyabrRuN3wuPVPaPZd2+N1mpvlU93ArNpbKpzo6T3SXB9P7rs8DW8n8uKPGgA1/RSH8lIQ03+ydjuWvsVpVk1z6dGaJm7Dy8XVuPOj1rf4rivl2lmUgpwgK5lhknFlJGbgNnA+jltr1bGu4t917hYL6I2rtLbZW1rcGxb9YPivqu359Jg9TTupXuZUDRe0lrmncQbEKlaaejOm12Rsgpxeqa1R1r4ewgCAIAgCAIAgCA0HM3XGKpmhOx8elzYRbyefBTsGWk3E1XlXQpY8LelPTx/2RrytDQwgCAxnPBLp1rBubC0eLnn4+Sqc5/5nwOg8lo6YbfXJ/JFGUM2UIAgCAIAgCAIAgCAICewDLCrwOwpZC6MfkX9ZtuA3t5WWavInXwe4q83Y+Ll6ucdJda3P9/ibVktjzMo4GzU40TfRewm+i4WuL7xrBB4FW9Nqsjzkc82jgTwr3VLf0p9aJdZSAYlnYoxS15cz8pGyQ9+tn8ip82OlvedG5NXOzBSf5W18n9SmqKbAEAQBAEAQBAEAQFlzcSmHEaa28vaebHj/AO7lIxXpain29BS2fZ8PJo3pXRzEIAgMQzr3+cH39iO3h/dU+Z+KdH5NafYF3sp6il+EAQBAEAQBAEB2U0Dql7GQ63OcGtHa42HvX1LV6I8WTVcHOXBLXwLxjea+poxpYW4Ti2tupjr77AmxHO6mWYU4/d3mt4fKfHtely5nmvXyKZWYfNQG1bE+M8Hsc33hRJQlHijYasiq5a1yUu5pnVTwPqXBtO1z3HY1oLieQXlJvcj3OyMFzpvRdpt2bXAZMCpiK8WkkdplnsiwAB7dV+auMSp1w97pOc7fz68vJXst6itNev8AYtqlFEYlnZqxU15az8nGyM9/Wf8AzqozZa29x0XkzU68HV/mk38l9CmqIbCEAQBAEAQBAEAQE5kPf5fSaP5xv9Vmx/xY95W7Y0+w26/0s+g1eHKwgCAxfO8zQrmk74WH954+Cqc5f5nwOhcl5a4TXVJ/JFIUM2QIAgCAIAgCAIC05s6AV9fDp2tGDKQeLfR5hxaeSk4kOdauwpOUGQ6cGWnGWi8ePlqbsrk5ofhGl6SH1PQ/GsDPQAHcE0Dk3xZyQ+EDldlNFk3EXSkGVwPRRb3HieDRvPxWG+5VR1fEs9mbMszrebHdFcX1fv1GB1dS6se+SoN3vcXOPEk3KpJNyerOn1VxqgoQWiS0R1L4ZAgCAIAgCAIAgCAsebuPpMRpQPacfBjz8FnxVrbEqNuy5uz7X2LzaN8V2cwCAIDLM9NIQ6llA1EPjJ7iHNHm7wVbnx3qRuvJK73bKu5/R/QzNV5uIQBAEAQBAEAQHOCd1M4Op3FrhrDmkgjuI1hE2nqjxOEZxcZLVPoZdMJznVlGAK0MnbxcNF3i3V4hTIZtkeO817J5MYlr1rbg/FeD9S45NZxI8cmjgML2Pfex0g5os0uO4HcpVWWrJKOhQbQ5O2YlMrueml2aPe9O0u6mGuGXZZ5wqmhnmp8OaxmgdHpT1nbBrAOocwVXX5c4ycYm6bJ5PY9tML7W3qtdOC9fNGb1lXJXPc+se57ztc43Kr5ScnqzbqqoVQUK1ol0I6V8MgQBAEAQBAEAQBAEBeM0NJ09a59tUcbjftcQ0eRd4KZhR1s16ka3you5mGof1SXlv9DZ1bHPQgCAqmczDDiVDIYxd0REo7m3Dv3S48lGy4c6t9m8u+T+SqM2KfCXu+PDz0MLVMdLCAIAgCAIAgCAIAgLBkDVMoq+nfVuDGAvu9xsBeN4Fzu1kLPjSUbU2VW2qp24NkILVvTcu9G0/wCJ6H/dQfes/FW3t6/6l4nPP8MzP7Uv0sw/LKpZWVtS+lcHMLzouGw6gLjiNSp75KVjaOkbKqnVh1wmtGkQyxFgEAQBAEAQBAEAQBAEBsOZ/CzS00k8g1zOs39FlwD4l3grXBhpBy6zQeVOUrMiNK/Kt/e/20L8ppq4QBAfjmh4IdrB1EIfU2nqjAMtcn3ZPVL2AHonXfC7i0nZfi3YeR3qjyKvZz06Og6jsjaCzcdT/Mt0u/8Afj5dBALCWgQBAEAQBAEAQBAEAQBAEAQBAEAQBAEAQBAEBI5PYO/HZ44ab1j1nWuGtHpOPd77DevdVbskooh52ZDEolbPo4dr6F/O8+iKKlZQxsjphZjGhrR2AWCvoxUVojlNtsrZuyfFvVncvpjCAIAgIjKfAIsooTFVajtjkA1sdxHEbiN/msV1Ssjoyds/PswrlZD4rrX84GE4/gc2ASmPEG2PqvHovHFp3+8KmsqlW9JHTMLOpzK/aVPvXSu8jVjJgQBAEAQBAEAQBAEAQBAEAQBAEAQBAEAQHrwrDJcXkbFh7C953DcN5J3DtXqEJTekSPk5NWNW7LXol/N3abnkbktHkzFZtnTOsZZOP2W8Gjz291zRQqo9pzbau1J51uvCK4L6vtLCs5VBAEAQBAEB48UwyHF4zHiLA9h3HceII1tPaF4nCM1pJGfGyrcaftKpaP8AnHrMyyhzXSQXfgT+kb+aeQHjud6LudlX24LW+G83LB5UVz0jkrmvrXDw4rzKFX4fLhztGvjfG7g9pbfuvtHcoUoSi9JI2enIqujzqpKS7GeZeTMEAQBAEAQBAEAQBAEAQBAEAQBAd1JRyVrtGjY57vZY0uPgF9jFyeiRiturqjzrJJLteheMn82E9ZZ2MO6FnsCznn4N8+5TKsKUt89xrmdynoq92hc99fBer/m81DBMDgwJmhhrA0es7a5x4uO0+4blY11RrWkUaZmZ1+XPn3S1+S7kSKyEQIAgCAIAgCAIAgOqppmVTS2qY17Tta5ocDyK+NJrRnuuydcudBtPsehWsRze4fXXLYjE4+tE4t/dN2+SjyxKpdGhcUcoc6rc5c5dq18+PmV6szSsP1GpcOx7A7zaR7lglgLoZa1crZr8StfB6fPX5kNUZq6xl+hkhcN3WeD4FtvNYXg2dDRYQ5VYj+9GS+C9foRs2b3EYjqg0hxbJH8XXWN4lq6CXDlDs+X59Pg/Q8kuRmIRelTScrO/hJXl41q/KZ47ZwZcLV8vmeeTJmtj9Oln5RPPuC8umxflfgZo7Tw5cLY/qR1HAasbaaf7mT8F89lP+l+B7+34v92P6l6nE4JVDbTzfdP/AAT2U+p+B9+2439yP6kBglUdlPN90/8ABPZz6n4D7bjf3I/qRyGA1Z2U0/3Mn4J7Kf8AS/A+fb8X+7H9S9TsjybrZPQpZ/unj3hfVTZ/S/A8S2lhx42x/Uj0RZG18vo00nMBvvIXpY9r/KYpbZwY8bV8/keqLN9iUn5C3aZIx/NdeliWvo+Rglyg2fH/AFPKXoScGaytk/1XwtG+7nE+TbLIsGzsIk+VOGvuqT+C9SYo80oH16pJ7GMt5uJ9yyxwOuRX28rX/p1eL+i9Sfw7NzQUVjIx0pG+R5Pk2wPMLPHDqj0alXfyjzrdykorsX1erLPR0UVC3Roo2Rt9ljQ0eAUiMVFaJFPbdZbLnWSbfa9TvXoxBAEAQBAEAQBAEAQBAEAQBAEAQBAEAQBAEAQBAEAQBAEAQBAEAQBAEAQBAf/Z"/>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10" descr="data:image/jpeg;base64,/9j/4AAQSkZJRgABAQAAAQABAAD/2wCEAAkGBxQSEhQTEhQWFhQXGR0aFRYXGRwZHRsXGxgaFhgbHBgaHSgjHBwlHBofIjEiJSksLi4uGR8zODMsOCgtLiwBCgoKDg0OGxAQGy8kICQsLSw0NC0sNCwsNC8vLCwsLCw0LCwsLCwsLCwsLCw0LCwsLCwsLCwsLCwsLCwsLCwsLP/AABEIANMAswMBEQACEQEDEQH/xAAcAAEAAgMBAQEAAAAAAAAAAAAABQYDBAcIAQL/xABCEAABAwIDBAcFBQYEBwAAAAABAAIDBBEFBiESMUFRBxMiYXGBkTJCobHBFCNScpJTYoKi0fAINEPSFRczY8Lh8f/EABoBAQADAQEBAAAAAAAAAAAAAAADBAUCAQb/xAA4EQACAgEDAgIIBQMDBQEAAAAAAQIDEQQhMQUSQVETIjJhcZGh0UKBscHwFCPhM1KCJENicvEV/9oADAMBAAIRAxEAPwDuKAIAgCAIAgPj3AC5IAG8lAV3Fs94fTX62riuPda4PPo26AouNdPNJHcU0Es55uIib8nO/lCAqNV0zYnUG1PFHGN3ZYXn9TjYLidsIe08HjklyQ9ZnHHGjrX1EoDTewDLDjqGjUeKhhq6Zy7VLc4VsW8Jl9b0/QCFpNLK6ew227TWx7XGz9Tb+FWSQqmLdM2JVN20zGwj/ttMjv1OB+S5lOMfaeDxtLkqlYzEqo3mknff9pIbeTSdPIKvLW0R/EcO2C8TVo56yinYKeZ7ZiQA2FxcS4mwaWj2iT7pBuparVbHujwdRkpLKPUEGaG01FDNij46eYsBkZtC+1bXZaNSe4XteylOig4x08RhxZR0j5v33u2PRga4keJHgvG0uRnBFf8AO3EDqKBlvCU/FR+nr/3L5nPfHzLz0ZdJbMUL4ZIxDUMF9kG7Xt3EtuLgg6EG/DXWwlOjoCAIAgCAIAgCAIAgCA4p/iFywSyOtgjOhLakt3EadW5ze7UbXeEBw2nDNdsuHLZAPrchcy7vwnjz4G+yOWHtMZJbm+Gw+N1A3XZtJr8pf/Dj1Zc/qSNLmCtfpGzb/LGT8lWs0eljvJ4/M4dVa5MUma6lpIOyCDYgt3HiCul06hrKz8x6CBjocwhrrvgidc6kNAPlvC9t0TkvVm1+Z7KrPDZfoJA5rS3cQCPArBkmpNMpPkhMxVUrntp4NHuaXOde1m7t/BXdJXWou63hPH5k1UYpd0j8ZZr6ijBhimpoJHH/AKrWNfNr7oedw7lpT1uI90YNr5E7t2ykbzcDjc4vnLp5He1JKS4n1Ky7dfdN7PHwK8rpMkKeBrBssaGt5AWVSc3J5k8kTbe7NCtx6CK4c8Ejg3U/BT16O6zdI7jVKXCJjoZw+arxN1e1hZTxtc3a/E4tsG95tqeWi39NT6KtQzku1x7Y4O/qc7CAIAgCAIAgCAIAgPxLEHNLXAOa4EOBFwQdCCOIQHnLpVyA7C5W1tHf7OXg239S++g72Hh6clzOCnFxlwzxpNYZv5WzSyraGuIZMPaZff3t5ju4L5XWaGVDyt4+f3M62lwfuPuequWKke6IkG4BcN4aTY25eKdOrhO9KYoinPc5pl+igeS6eQNA3MvYu8+S+g1dtsFiuOfeXbJSXsonMWlohA9sfV7RHZ2Rc34aqjRHVO1SlnHvIYKzuTZpQZuLIWMay72ixcTppuNhvU0umqdjk3szt0ZlnJipMBq614lLSGv/ANR2gDe4b7W5KSeq0+mj2J8eB07IVrBhocsTzGQwWe2Nxbt3sHEfhvv5+a7s11VairNm1x9z2V0Y47ibMGK7Oz1R5bXYv63VLPT857v1If7Pmak+BYgWOfM8sYBd23JYW8AbeSmjqdGpKMFl+5HasqzhIkOjXo4mxKRsjw5lGHHbl3F1t7WX3m+l9w14iy1CwenMKw2OmhZBC0MjjGy1o4D6nvQG2gCAIAgCAIAgCAIAgCA08YwyOqgkgmF45Glrhu0PEHgRvCA8x9IuRJcGnjkjeXwudeKW2rXt12XcNrS452PIrmUVKLi+GeNZWGTmXMeZiML4JgBIWkOA02m/ibyty4L5rVaWWksVlfH82KFlbqfcig43gJpqgRSOsxx7MhBts89OI4hbmn1auq74rdeBbhZ3xyiz0XRy1wDnVO00i42Gbx3OLvos2zrLTwoYfvf7YIJap8YLFhmTqWEghm24e9Idr4bvgqF3Ub7Ns4XuIZXzkYs8Yp1UIgjuZZ+wwDfY6E/TzXXTqO+z0kvZjuz2iGZdz4RMYLh4p4I4h7o173b3H1VXUWu2xzfiRTl3SbNuR4aCSQABck7gBvJUKTbwjkruEYPLj1SWMcY8PhcOtktrI7fst/etu/CDc3uAvqOn6FUR7pe0/oaNFPYsvk7XPX0WGwxxvkip4mNAY1zgNBpoN58VpE5Wq3piwuMkCZzyPwRuI9bWQGnF034YTY9c0czHf5ElAXjL+YKeui62llbIy9jbe02vZwOoNuaAk0AQBAEAQBAEAQBAEBU+laFrsJrNoA2jJF+DgQQR3goDydSVLontkYS1zTcEc1xOEZxcZcM8aTWGWnFc4R1cPVVEFnDVsjHbncw0jdzF1m09OnRZ31z28mvD4/4K8KHCWYs+ZGzQKYuimcepOrd52XdwHAp1HQu5KcF636oX09265L9T5lpX+zOy/Im3zWHLRXx5gyo6prwMUOExyVf2sSiSzA1jRYhvM7QPeeHEruWolCj0HbjfL9565tQ7MG7ieLw04vNI1vde7j4NGqhp09lzxBZ/Q5jCUuEc3zbnA1Q6qIFkPG+9/jyHcvodD05UevPeX6F2mjs3fJuDPlRJHFR00jaCmYLfdlwJO8ufIO0XE66W3q/bNwi2ln3Ilsm4xyln3GQ02HAmSqrJKqQ+067jflzcfMrHnf1G14rr7V7/AOfsZU7tdY8Qh2/H+fsYqnMmHs0hoQ8832b/AFJ+CQ0Otn/qXY+G/wBhDR6uXt24+H8RDSyy4hLHDT0zA8mzY4W6knS5PIczYDetLTab0Ocycn72aFGn9FzJv4noDoeyFLhcczqh4Mk2z2GG7Wht954u14bvNWiwdFQBAEAQBAEAQBAfHOABJNgNSTyQHL859NFLSkx0o+0yjQuBtG0/m97wHqEBQXZnxbGY3sfIyGlfdrg1gs4b7C9ybc7hUdXr69Ps935ENl0YbeJhly1Uxt+6FI63AxWJ8zdZK1dE367mv+RRxXJ+s5fMjzidZAfvsPieObYRu/My4Hmpv6bTW/6dzX/L7nMtFXP2bJL8zKzONEdJ6HYdya1h+Yafgo30vVL/AE7sr4v/ACQvp2pXsW5+f+Q+uwaX2oyzwa5vxaiq6pXxLP5p/qeKrqMOHn81+5q1dNg7LOD5XX91pJt43Gnqpa7Opy2wl8SWE+oS2wl8SMFdRNdanpHzPOjeudcX4ARt9r1urXodXKP921RX/iv3fBY9DqZL+5Yl/wCq/dknU0jgWHFYpRTEi32Uxs6onmwsIdfxHjwXWinpu5qp5fv5ZLp4VRb7OffydVwLorwWpiEkDnzNIHaExv4ENtY9xC0S2bz+hTCzuZKPCQ/VAZaToawthBMT32N+3I63mBa4QFzwzBqemFoIY4tLdhgabcrgXKA30AQBAEAQBAEAQENmjM9Nh8XW1MgaNdlu9zyODW8T8kB5wz/0n1OJExtvDTcImnVw4GR3Hw3eO9ARmTcqmrPWSXELTrzeeQPAcz/Yzdfr1Qu2PtP6EF13ZsuTq8MLWNDWANaBYAaABfMSk5PL5M9vO7P2vDwIA4X36+KLYGu+hiO+Nh8Wt/ou1bNcSfzPe5+ZgdgtOd8Mf6Qu1qbl+J/M69JLzNino44/YYxv5WgfELiVk5+02zlyb5P1U07ZGuY8BzXCxB4heQnKElKLw0E2nlFNlynPSTCpw2ZzHt3NJseZF9zmnkVuabq6e1y/NfYuV6nwkdN6POlWOsd9mrQIKsHZF9GSHdpf2X39091idw24yUllFpPJ0tenoQBAEAQBAEAQBAVzPWbocNpnSyOb1hB6mMnV7+Atv2QSLngvGweUcwY7PWzOnqZC9557gODWjcAOS9BbMmZMD2iepbodWRniPxO7u5Yev6k4v0dT+L+xUuvx6sTobWgAACwG4BYLed2Uj6gCAIAgCAIAgCAICu5mynFVBzwNia2jxuJG4OHHx3q/pNfZQ1F7x8vsTVXOG3gS/Rt0nSQS/wDD8Ud2mkNjnJ3Hg154jk71X1FVkbIqceGaMZKSyjtgK7PQgCAIAgCAICt59zbHhlK6d9nPOkMZNtt/LwG8lAeV80ZjnxCd1RUOu86ADRrWjc1o4D+qAseR8o7ZFRUN7G+Nh9794jl81i9R6h2/2q3v4sqX349WJ0hfPlIIAgCAIDWxCuZAwySu2WiwJ8dApKqpWy7YLLOoxcnhGdjwQCNQRcHuOoUbWHhnJ+kAQBAEAQEHmXLUVY3XsygdmQD0B5hXNJrZ6d7bryJa7XD4E10VZ6dBJ/wvEXgPaQ2nlcfaB9mMk/ynje3JfU03Rtgpx4ZowkpLKOxqU6CAIAgCA1sRrmQRPmlcGxxtLnk8ABcoDyPnrNsuJ1Lp5dGjSKO+jGX0HieJ4nyQG3kbLJqHiaTSFjtAffcNbeHP0WX1HWqmPo4+0/oV77u1YXJ1VfMmeEAQBAaGOzPZTyvi9trCW8d2u7wU2mjGVsYz4bO60nJJmplLGvtdOJHAB4Ja8DdcWNx4ggqXXab+nt7Vxyjq6vslgyZqw01FLJG32rbTe9zdQPPcvNFcqblJ8HlU+2aZoZBxTrqYMPtxdhw4290+mniCpup0eju7lxLf7neoh2yz5llWeQBAEAQBAEBXc45cFVHtMFpmDsHmBrsn6cir+g1jonh+y+fuTU29j34LX0M9IZqR9hrDapjFo3O0MjW72m/+o23mPAr6pNNZRpHWF6AgCA+E2QHm7pk6Q3VkzqWmkBpGWBLN0rxqTtcWg7racUBQMAwh1VM2Jug3ud+FvEqvqdRGitzZxZNQjlnaqOlbExsbBZrRYBfH2TlOTlLlmW228szLk8CAIAgCAotHWxYZV1ETyWwyBsjLC9jrpYeJ9AtqyuzW0QnH2lsy24u2Ca5MWMdIo1bTR3/ff9Gj6+i6o6P42v8AJfc9hpf9zKTDUTPlPVucHyu1DDs7Rcb20PM7lsShXGHrLaK8d+C01FLfwJiXJdaW7RZc8toF3z+qqx6lps4T+mxEtRXwQ7aueB2yHyxuG9t3Nt4hWnXVas4T+pL2xkW3KWdJOsEVQTIHua1rtLtJNtRbUa/BZeu6bDs76tsfUrXadYzE6QvnykEAQBAUbPGEvhkZX0xLZI3Nc+3BzTdr/kD5Ld6VrP8Asy/L7FzTW/gZ3rImZW4jRRVLbBxGzK0e7I32h9R3ELdLhYEAQHFumjpIfEZ8NhjsXMAfMXa7LhdzWsA5aXvxOiA4TTwue4MYC5zjYAcSuZSUU5S4R42kss7HlTAG0cWzoZHWMju/kO4L5PW6t6iefBcGbbY5v3E2qZEEAQBAEBVM65q+ygRxWMztSTqGN5kczwWn0/Qen9efsr6limnv3fBzurhqZ2OqpA97bhpkP07h3LehKmqSpjhPyLicYvtR0vLuVqWJjJA3rHOAO2+x3i+g3BfParXXzk4t4S8EUrLpt44NfpBw4mnbLGAHQO2tBbs8d3I2PkpOmXYtcJcSWD3Ty9bD8SxYXWCaGOUe+0Hztr8Vn3VuuxwfgyGUe1tGHFcGhqRaZgdyducPBw1XdOptpeYPB7CyUOGR+E5OpqeQSNDnOHs7ZuGnmBbep7uo3Ww7HsvcdzvnJYZYFRIQgCAID8SxhzS1wu1wIIPEEWIXsZOLyuQng1+hCpNLXVmHk3YR1sflYH+Vzf0r7LS3emqjPzNWuXdFM7Ypzs0sZxJlNBLUSX2ImF7rbyAL2F+JQHjzM2NPraqapkFnSuLtka7I3NaD3AAIC2dFtBG4yzE3kaQ0D8IIvtediP4TzWH1m2a7YLh7lPVSey8DoawSmEAQBAEB+ZX7LSeQJ9BdexWWkEcgynQfbKz74lw1e+/vW4evwX1Wtt/pqPU28EaVsuyGx1qajY+MxFo2C3Z2RoLWtovl42SjPvT35M5SaeSt5KxHYbJSSuAfTkgE6XjvodeXyIWh1CnuaugtpfqT3Ry1NeJI4jmSja1zXzMcCCC1p27g6EaKCrRaiTTjFr6HEapvhFJy1nFtJG+EsdIwPJiOgIaTuPz8ytjV9Od8lNNJ43LVtDm8k1F0jwn2opB4Fp+oVOXRrPCSInpZeZOYZmmlnIDJQHHc1/ZJPdfeqV2hvq3lHb3bkUqZx5RNKoRBAEAQBAVPKkzocyxbRsJHFvi10R2R+oBfWdNaemjg0qH/AG0ejVeJjjv+InMUkUMFHGQGz7Tpueywt2ADfcSTf8o70BwGCIvc1jRdziA0cyTYD1XkpKKcnwjxvCydoyxggpIRHvedZHc3f0G5fIazUvUWd3h4GZbZ3yyS6qkYQBAEAQHwi+h3IDiWJU0tFUOYHOa5p7LgbEt4HzC+xqnDU1KTWUzUi1ZHJmfmusIsZ3/AfILhaDTr8CPPQw8iJnmc9xc8lzjvJ1JVqMVFYisIkSS2RjXR6EB9AQHxAX/o9zJI6QU0rtoEHqyd4IF9m/EW+Sw+qaKCj6WCx5lPUVJLuR0NYJTCAIAgKdn+l6swVrLh8L23I32DtppHeHfNbPR78SdT8dy3pZ79p6Jw2uZPFHNGbskaHNPcRcL6EunmHpqxz7VikoHsQfct8W3Lj+on0QEf0b4eJarbdqIm7Q/MTYLM6rc4U9q8divqZYhjzOrL5gzwgCAIAgCAICLx7AYatoEo1HsvHtD+o7lZ02rs07zD5eBJXZKD2KPWdHMwP3UjHj967T9Vs19Yrftxa+paWqj4ojq/JNTDE+V+xZguQ03NuJ3KerqdNk1BZ3O46iEnhEtl3IbJomSzSus8XDY7aDvcQde6yrarqsq5uEI8eZHZqXF4SJTF8kU7KaUxMcZGtLmnaJJI1tbd8FWo6ndK6Km1hvyI4aiTks8G9kQwvpGGNjQR2X6AnaG8k94IPmoOpekje1J+9fA5v7lPclsUw2GSOQPYyxa67tkXGh1v3b1WpushNOLfJHGck1g5p0c023WNd+BrnfDZ+q+h6rPt07Xm0XtS8QOtL5czggCAICFzlFtUU45Nv6EFW9BLGoh8SWl4mi7dEFSThFJc6gSDyE0gHwAX15pnnbNlSJa2rkG588rh4GRxHwQFt6KIdKh/5Gj+Yn6LB61L2I/H9inq3wjoCwymEAQBAEAQBAYaurZE0vkcGNG8uNguoVysl2xWWeqLbwjHQYjFOCYpGvA37JvbxG8Lqymyp4mmj2UXHlGeaMOa5p1DgQR3EWK4jJxaa8DlPG5Wej2UiGSBx7UErm+R1Hx2lo9UinZGxcSSf8+hY1C9ZS80WlZpXKLgdSyirqqCRwZE/ttLiABx+RI8ltaiEtTpq7IrLWxbmnZWpLk0835yErTT01yHaPfbeDpstHfzUuh6a636W3w4X7s6pow+6RZclYEKaBrnNtM8XkJ3jiG91ln9Q1TusaT9Vcfcgus75e4sKoEIQBAEBo47HtU07ecTwPHYNlNpni6D96/U7g8SXxN7osxeOPC6ZjjqOsv5zSFfaGqcAmddxJ3km/qgOn9F8VqV5/FIfQNaP6r5rrEs3JeSKGqfrlwWUVggCAIAgCAICqdI2HSTU7eqaXbDtpzRqbbJFwONvqtPpV0K7X3vGVgsaaSjLc5hR1kkLw+NxY8cR8j/AEX0llcLI9sllF+UVJYZfsG6RGltqlhDh77BcHxbvBWFf0eSeant5Mpz0r/CRFPm1kFZNNExzopd7T2TcbiPP5q3Lp8rdPGubxKJI6XKCT5RsVnSPMR93Exne4l5+g+Cjh0ate1Jv6fc8Wlj4squJVUs7+tmJJdptEWHcFp1V11R7IFiMYxWEdRytlSKltJfrJSB2jazePY0+Pcvm9Zr53+rwv5yULbnPbwLIs8gCAIAgCAxVY+7f+V3yK6h7S+J6uTkWFY8+KJrAdBf4uJ+q+4NcjcdpeqqZ4vwSvZ+l5b9EB0ro1dej8Hu+hXzHVl/1H5Iz9T7ZalmFcIAgCAIAgCAICPrsEp5tZImOPO1j6hT16m2v2ZNHcbJR4ZGnJFF+yP63/7lY/8A09T/ALvojv8AqLPMrWecrw08TJYWloDrPG0TcHcdTprp5rR6drrLpuFjztsT0XSk8MuOE4RShjXxQx2c0EG1zYi+8rJv1F7k4zk9itOc84bNHpAo+sonm2sZDh3WNj8CpumWduoXv2O9PLEzYyZiJnpI3EdpvYPeW219LKPX0+ivaXjv8zm6PbNk4qZEEAQBAEBoY/PsU07uIjfbx2SB8VNpo910F71+p3WsySOdYFlKSeBkrW3Dr2Pg4t+i+0NUy9L+HdRi1ULWD3CRvg8Ak/qugJToqqrxzxcQ4PH8Q2T6bI9V8/1mv1oz92P58ylqlumXtYpUCAIAgISTMjBWNpGtLnH2ncGm21bv/wDYVxaOX9O729iX0T7O8m1TIggCAIAgIjNmHOqKWSNmrrAtHMtNwPNWtFcqboyfBJVLtmmzBkiKVlIxkzXNc0uADgQdm+mh/uy76jKEr24PKeDq9pzyiZqYGyMcxwu1wLXDuIsVUhNwkpLlESeHlEbljBPscTotvbu8uva1rgAD0CsazU/1E1PGNsHdtne8kuqpGEAQBAEBVekbEOrpSz3pSG+Q7R+nqtPpVXff3eRY00czz5HV+i/BhFhVG0jUx7ZuNbyOdJ/5L6c0Dm/+I/BXCanq2t7DmdW9w4PaS5oPiCbflKA51kTEupq2XNmydg+fs/GyodSp9JQ8crchvj3QOwL5QzQgCAICIo8vxx1MlTcukfz3NGgNvRWrNXOdMauEiR2NxUSXVUjCAIAgCAIAgCAIAgCAIAgCApFTTDE8ZpqI3EbHWf3gAySW5Xa0NB5r6fpVHo6e5/i3/I0NNDEc+Z6WijDQGtFgAAByA0AWmWCvdIWX/t9BPTj2y3aj/O3tNHmRbzQHkGRhaS1wIINiCLEEaEEcCgOu5Kx9tTC1rnDrmCzgTqQNzu/vXynUNI6bG0vVf8wZt9fZLPgWNUCEIAgCAIDSw7FYp9vqnh2w7Zdbn3HiO/uUttFlWO9YydSg48m6ojkICOxPHIKdzGSvDXPPZG/S9rnkL8VPTpbbU5QWyO41yksokVAcBAEAQBAEAQBAReZMVFNTySFwDrERg8XkdnTjz8lY0lDutUcbePwJK4d8kjT/AMPeAvlqpa99yyMFjXH3pX2LteYbv/MF9ikksI1FsegV6AgOC9OuQSx5xGmZdjv8y0e679pbkePI68TYDj1BWPhkbLGbOabj++VlHbXGyDhLhnkoqSwzr+UccNZCXuAa9rtlwbu3AggEk2IPwK+V12l/p7O1cPczbq+yWCbVMiCAID8yMuCN1wRp36Inh5BDZUy+KKNzdrbc513OtbdoAB/e8q5rdW9TNPGEiW230jyTapkQQEVW5fhlqGVEgJewANF+zoSQSLb9edlZr1dldTqjw/mSRtko9qJVViMIAgCAIAgCAIDmuKB+LYlFSwG7b7APAC95JPAAeeyF9V03TOmr1uXv9jRor7I7+J6ay/g0VHTx08DdmOMWHed5ceZJ1PitAnJFAEB+Jog9pa4AtcLEHUEHQghAeYOlXo7fh0xkhY51G/VrrE9WSfYeeG/QneOZBQFOwbGZaV+3C61/aB1DgOYUF+mrvj2zRxOuM1hnTct5xiqbMfaOX8JOjj+6T8t6+c1fTrKfWjvH+clGyiUN1uiyrPIAgCAIAgCAIAgCAIAgCAIASgKhVYjUYlN9iw1pdfSWbc1rSbE7XBvfvPBb+g6b24st58F9y7Tp8etI7FkHINPhcQDAHzkfeTEak8Q38Le71W2Wy3IAgCAIDDV0zJWOjkaHseC1zXC4IOhBCA85dIXRDUUjnzUbXT0177Le1JGORbvcBzHDfzQHMCLb0BZ8vZ0mpyGyEyxcQT2h+Vx+RWbqum12rMdn9CCyiMuNmdEwnMlPU2Ecg2j7juy7yB3+Swb9FdTvJbefgUp1SjyiWVUjCAIAgCAIAgCAIAgI/E8bgp79bK1ptfZvdx/hGqnp01tvsR+3zO41ylwjQwDDa7GiRG37NQnR8rhdz2+8G336aaaDiSt/S9MrqalLeS+Rdr06ju+TtOV8tU+HwiGmZst3ucdXPdu2nO4lahYJdAEAQBAEAQBAUvOfRlRYjdzmdVNwlisCT+83c4eOveEBw7N3RNXUV3sZ9ohHvxAkgfvR+0PEXGm9AUMEtPEEHwII+qNZ2YJzB821NOTZ/WNO9shLvQ3uFSv6fTcuMP3bEM6ISLfQ9I0LrdbG9h4kWcPofgsqzo9i9iSf0K8tLLwZLQZzo3f62z+Zrh9FVl03Ur8JG6LF4EvR10crduJ7Xt5tN/8A4VUsqnW8TWGROLi8M2AVweBAfLoCOq8wU0Ttl88YdxF7keNr281YhpL5rMYvB2q5vhETiGe6WMHYLpTwDRYepVqrpV8/a2+JJHTzfOxA02ZcRr5OqooTc7hG3aI73PdoB3mwWpV0miPtZbLMdNBc7nSMl9DDGOFRib+vlJv1QN2A7+2d7z3aDxWnGKisLgnSxsjrsUYaA1oAaBYACwA5AL09P0gCAIAgCAIAgCAIAgKzmbIVDXgmeBu3+0Z2Hj+Ib/O4QHLcf6A3i5oqkOHBkwsf1tFvgEBzvGej/EaU/e0kpb+ONvWNtzLmXt52QFbliLTZwIPIix+KA+MeRqCR4LxpPkGanrpGHaZI9p4kOI9ea4lVCSxJJnjinyjPJjVQ7fPJ+sj5FcLTUriK+Rz6OPkYWSSyGwMjj3EkqVQiuEdYRZsB6M8SqyNimfG38cw6oc72d2iO8Aro9OoZa6B4WWdXTOlP7OPsN8HO9o+Wz4oDq+E4TDSxiOniZEwcGAD15nxQG6gCAIAgCAIAgCAIAgCAIAgCAIDUq8Mhlv1sUb779pgPzCAgqro/wxwN6KDyYG/FtkBHf8tcLv8A5OP1f/uQEjSdH+Gt1FFB5s2vndAT1HhsMWkUUbPytA+QQG0gCAIAgCAIAgCAID//2Q=="/>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5" name="Picture 11" descr="C:\Users\pp00346656\Desktop\money_bag_green.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94475" y="4059025"/>
            <a:ext cx="577990" cy="6811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58869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837616" y="230094"/>
            <a:ext cx="3307589" cy="492443"/>
          </a:xfrm>
          <a:noFill/>
          <a:ln w="9525">
            <a:noFill/>
            <a:miter lim="800000"/>
            <a:headEnd/>
            <a:tailEnd/>
          </a:ln>
        </p:spPr>
        <p:txBody>
          <a:bodyPr vert="horz" wrap="square" lIns="0" tIns="0" rIns="0" bIns="0" numCol="1" anchor="t" anchorCtr="0" compatLnSpc="1">
            <a:prstTxWarp prst="textNoShape">
              <a:avLst/>
            </a:prstTxWarp>
            <a:spAutoFit/>
          </a:bodyPr>
          <a:lstStyle/>
          <a:p>
            <a:r>
              <a:rPr dirty="0"/>
              <a:t>What is DevOps </a:t>
            </a:r>
          </a:p>
        </p:txBody>
      </p:sp>
      <p:sp>
        <p:nvSpPr>
          <p:cNvPr id="93" name="TextBox 92"/>
          <p:cNvSpPr txBox="1"/>
          <p:nvPr/>
        </p:nvSpPr>
        <p:spPr>
          <a:xfrm>
            <a:off x="145145" y="3731341"/>
            <a:ext cx="8394171" cy="2814601"/>
          </a:xfrm>
          <a:prstGeom prst="roundRect">
            <a:avLst/>
          </a:prstGeom>
          <a:ln>
            <a:headEnd/>
            <a:tailEnd/>
          </a:ln>
        </p:spPr>
        <p:style>
          <a:lnRef idx="1">
            <a:schemeClr val="accent2"/>
          </a:lnRef>
          <a:fillRef idx="2">
            <a:schemeClr val="accent2"/>
          </a:fillRef>
          <a:effectRef idx="1">
            <a:schemeClr val="accent2"/>
          </a:effectRef>
          <a:fontRef idx="minor">
            <a:schemeClr val="dk1"/>
          </a:fontRef>
        </p:style>
        <p:txBody>
          <a:bodyPr vert="horz" wrap="square" lIns="0" tIns="0" rIns="0" bIns="0" numCol="1" rtlCol="0" anchor="ctr" anchorCtr="0" compatLnSpc="1">
            <a:prstTxWarp prst="textNoShape">
              <a:avLst/>
            </a:prstTxWarp>
            <a:noAutofit/>
          </a:bodyPr>
          <a:lstStyle/>
          <a:p>
            <a:pPr marL="111125">
              <a:lnSpc>
                <a:spcPct val="150000"/>
              </a:lnSpc>
              <a:buClr>
                <a:schemeClr val="tx2"/>
              </a:buClr>
            </a:pPr>
            <a:r>
              <a:rPr lang="en-IN" sz="2000" dirty="0">
                <a:solidFill>
                  <a:schemeClr val="tx1"/>
                </a:solidFill>
              </a:rPr>
              <a:t>The term </a:t>
            </a:r>
            <a:r>
              <a:rPr lang="en-IN" sz="2000" b="1" dirty="0">
                <a:solidFill>
                  <a:schemeClr val="tx1"/>
                </a:solidFill>
              </a:rPr>
              <a:t>DevOps</a:t>
            </a:r>
            <a:r>
              <a:rPr lang="en-IN" sz="2000" dirty="0">
                <a:solidFill>
                  <a:schemeClr val="tx1"/>
                </a:solidFill>
              </a:rPr>
              <a:t> is a blend of </a:t>
            </a:r>
            <a:r>
              <a:rPr lang="en-IN" sz="2000" b="1" dirty="0" smtClean="0">
                <a:solidFill>
                  <a:schemeClr val="tx1"/>
                </a:solidFill>
              </a:rPr>
              <a:t>Development</a:t>
            </a:r>
            <a:r>
              <a:rPr lang="en-IN" sz="2000" dirty="0" smtClean="0">
                <a:solidFill>
                  <a:schemeClr val="tx1"/>
                </a:solidFill>
              </a:rPr>
              <a:t> </a:t>
            </a:r>
            <a:r>
              <a:rPr lang="en-IN" sz="2000" dirty="0">
                <a:solidFill>
                  <a:schemeClr val="tx1"/>
                </a:solidFill>
              </a:rPr>
              <a:t>(</a:t>
            </a:r>
            <a:r>
              <a:rPr lang="en-IN" sz="2000" i="1" dirty="0">
                <a:solidFill>
                  <a:schemeClr val="tx1"/>
                </a:solidFill>
              </a:rPr>
              <a:t>representing software developers, including programmers, testers, and quality assurance personnel</a:t>
            </a:r>
            <a:r>
              <a:rPr lang="en-IN" sz="2000" dirty="0">
                <a:solidFill>
                  <a:schemeClr val="tx1"/>
                </a:solidFill>
              </a:rPr>
              <a:t>) and </a:t>
            </a:r>
            <a:r>
              <a:rPr lang="en-IN" sz="2000" b="1" dirty="0" smtClean="0">
                <a:solidFill>
                  <a:schemeClr val="tx1"/>
                </a:solidFill>
              </a:rPr>
              <a:t>Operations </a:t>
            </a:r>
            <a:r>
              <a:rPr lang="en-IN" sz="2000" dirty="0">
                <a:solidFill>
                  <a:schemeClr val="tx1"/>
                </a:solidFill>
              </a:rPr>
              <a:t>(</a:t>
            </a:r>
            <a:r>
              <a:rPr lang="en-IN" sz="2000" i="1" dirty="0">
                <a:solidFill>
                  <a:schemeClr val="tx1"/>
                </a:solidFill>
              </a:rPr>
              <a:t>representing the experts who put software into production and manage the production infrastructure, including system administrators, database administrators, and network technicians</a:t>
            </a:r>
            <a:r>
              <a:rPr lang="en-IN" sz="2000" dirty="0">
                <a:solidFill>
                  <a:schemeClr val="tx1"/>
                </a:solidFill>
              </a:rPr>
              <a:t>). </a:t>
            </a:r>
            <a:endParaRPr lang="en-US" sz="2000" dirty="0" smtClean="0">
              <a:solidFill>
                <a:schemeClr val="tx1"/>
              </a:solidFill>
            </a:endParaRPr>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3476" t="39567" r="38608" b="21724"/>
          <a:stretch/>
        </p:blipFill>
        <p:spPr bwMode="auto">
          <a:xfrm>
            <a:off x="294972" y="1034374"/>
            <a:ext cx="4527754" cy="2598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4379" t="59376" r="51712" b="13559"/>
          <a:stretch/>
        </p:blipFill>
        <p:spPr bwMode="auto">
          <a:xfrm>
            <a:off x="5016418" y="1280160"/>
            <a:ext cx="3426542" cy="2180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477411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8142" y="256622"/>
            <a:ext cx="6965206" cy="492443"/>
          </a:xfrm>
        </p:spPr>
        <p:txBody>
          <a:bodyPr/>
          <a:lstStyle/>
          <a:p>
            <a:pPr algn="ctr"/>
            <a:r>
              <a:rPr lang="en-US" dirty="0"/>
              <a:t>Blame Game: Dev vs. Ops </a:t>
            </a:r>
          </a:p>
        </p:txBody>
      </p:sp>
      <p:grpSp>
        <p:nvGrpSpPr>
          <p:cNvPr id="4" name="Group 3"/>
          <p:cNvGrpSpPr/>
          <p:nvPr/>
        </p:nvGrpSpPr>
        <p:grpSpPr>
          <a:xfrm>
            <a:off x="678423" y="988141"/>
            <a:ext cx="7418441" cy="5545394"/>
            <a:chOff x="1991032" y="1533832"/>
            <a:chExt cx="4953296" cy="4763729"/>
          </a:xfrm>
        </p:grpSpPr>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4326" t="41079" r="45069" b="34123"/>
            <a:stretch/>
          </p:blipFill>
          <p:spPr bwMode="auto">
            <a:xfrm>
              <a:off x="1991032" y="1533832"/>
              <a:ext cx="4953296" cy="225650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3986" t="40171" r="32657" b="19607"/>
            <a:stretch/>
          </p:blipFill>
          <p:spPr bwMode="auto">
            <a:xfrm>
              <a:off x="1991042" y="3725128"/>
              <a:ext cx="4932091" cy="257243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5075575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13" y="286116"/>
            <a:ext cx="6858000" cy="492443"/>
          </a:xfrm>
        </p:spPr>
        <p:txBody>
          <a:bodyPr/>
          <a:lstStyle/>
          <a:p>
            <a:pPr algn="ctr"/>
            <a:r>
              <a:rPr lang="en-US" dirty="0" smtClean="0"/>
              <a:t>DevOps addresses the challenge</a:t>
            </a:r>
            <a:endParaRPr lang="en-US" dirty="0"/>
          </a:p>
        </p:txBody>
      </p:sp>
      <p:sp>
        <p:nvSpPr>
          <p:cNvPr id="3" name="Text Placeholder 2"/>
          <p:cNvSpPr>
            <a:spLocks noGrp="1"/>
          </p:cNvSpPr>
          <p:nvPr>
            <p:ph type="body" sz="quarter" idx="13"/>
          </p:nvPr>
        </p:nvSpPr>
        <p:spPr>
          <a:xfrm>
            <a:off x="471948" y="923249"/>
            <a:ext cx="8224838" cy="4431983"/>
          </a:xfrm>
        </p:spPr>
        <p:txBody>
          <a:bodyPr/>
          <a:lstStyle/>
          <a:p>
            <a:pPr algn="just"/>
            <a:endParaRPr lang="en-IN" altLang="en-US" b="0" dirty="0" smtClean="0">
              <a:solidFill>
                <a:schemeClr val="tx1"/>
              </a:solidFill>
            </a:endParaRPr>
          </a:p>
          <a:p>
            <a:pPr algn="just"/>
            <a:r>
              <a:rPr lang="en-IN" altLang="en-US" b="0" dirty="0" smtClean="0">
                <a:solidFill>
                  <a:schemeClr val="tx1"/>
                </a:solidFill>
              </a:rPr>
              <a:t>DevOps </a:t>
            </a:r>
            <a:r>
              <a:rPr lang="en-IN" altLang="en-US" b="0" dirty="0">
                <a:solidFill>
                  <a:schemeClr val="tx1"/>
                </a:solidFill>
              </a:rPr>
              <a:t>typically refers to the emerging professional movement that advocates </a:t>
            </a:r>
            <a:r>
              <a:rPr lang="en-IN" altLang="en-US" dirty="0">
                <a:solidFill>
                  <a:schemeClr val="tx1"/>
                </a:solidFill>
              </a:rPr>
              <a:t>a collaborative working relationship between Development and IT </a:t>
            </a:r>
            <a:r>
              <a:rPr lang="en-IN" altLang="en-US" dirty="0" smtClean="0">
                <a:solidFill>
                  <a:schemeClr val="tx1"/>
                </a:solidFill>
              </a:rPr>
              <a:t>Operations.</a:t>
            </a:r>
          </a:p>
          <a:p>
            <a:pPr algn="just"/>
            <a:endParaRPr lang="en-IN" altLang="en-US" dirty="0">
              <a:solidFill>
                <a:schemeClr val="tx1"/>
              </a:solidFill>
            </a:endParaRPr>
          </a:p>
          <a:p>
            <a:pPr algn="just"/>
            <a:r>
              <a:rPr lang="en-IN" dirty="0">
                <a:solidFill>
                  <a:schemeClr val="tx1"/>
                </a:solidFill>
              </a:rPr>
              <a:t>DevOps encompasses numerous activities and aspects, such as the </a:t>
            </a:r>
            <a:r>
              <a:rPr lang="en-IN" dirty="0" smtClean="0">
                <a:solidFill>
                  <a:schemeClr val="tx1"/>
                </a:solidFill>
              </a:rPr>
              <a:t>following:</a:t>
            </a:r>
          </a:p>
          <a:p>
            <a:pPr algn="just"/>
            <a:endParaRPr lang="en-IN" dirty="0"/>
          </a:p>
          <a:p>
            <a:pPr marL="628650" lvl="1" indent="-342900" algn="just">
              <a:buFont typeface="+mj-lt"/>
              <a:buAutoNum type="arabicPeriod"/>
            </a:pPr>
            <a:r>
              <a:rPr lang="en-IN" b="1" dirty="0" smtClean="0"/>
              <a:t>Culture</a:t>
            </a:r>
            <a:r>
              <a:rPr lang="en-IN" b="1" dirty="0"/>
              <a:t>:</a:t>
            </a:r>
            <a:r>
              <a:rPr lang="en-IN" dirty="0"/>
              <a:t> People over processes and tools. Software is made by and for people. </a:t>
            </a:r>
            <a:endParaRPr lang="en-IN" dirty="0" smtClean="0"/>
          </a:p>
          <a:p>
            <a:pPr marL="628650" lvl="1" indent="-342900" algn="just">
              <a:buFont typeface="+mj-lt"/>
              <a:buAutoNum type="arabicPeriod"/>
            </a:pPr>
            <a:endParaRPr lang="en-IN" dirty="0" smtClean="0"/>
          </a:p>
          <a:p>
            <a:pPr marL="628650" lvl="1" indent="-342900" algn="just">
              <a:buFont typeface="+mj-lt"/>
              <a:buAutoNum type="arabicPeriod"/>
            </a:pPr>
            <a:r>
              <a:rPr lang="en-IN" b="1" dirty="0" smtClean="0"/>
              <a:t>Automation</a:t>
            </a:r>
            <a:r>
              <a:rPr lang="en-IN" b="1" dirty="0"/>
              <a:t>:</a:t>
            </a:r>
            <a:r>
              <a:rPr lang="en-IN" dirty="0"/>
              <a:t> Automation is essential for DevOps to gain quick </a:t>
            </a:r>
            <a:r>
              <a:rPr lang="en-IN" dirty="0" smtClean="0"/>
              <a:t>feedback</a:t>
            </a:r>
          </a:p>
          <a:p>
            <a:pPr marL="628650" lvl="1" indent="-342900" algn="just">
              <a:buFont typeface="+mj-lt"/>
              <a:buAutoNum type="arabicPeriod"/>
            </a:pPr>
            <a:endParaRPr lang="en-IN" dirty="0" smtClean="0"/>
          </a:p>
          <a:p>
            <a:pPr marL="628650" lvl="1" indent="-342900" algn="just">
              <a:buFont typeface="+mj-lt"/>
              <a:buAutoNum type="arabicPeriod"/>
            </a:pPr>
            <a:r>
              <a:rPr lang="en-IN" b="1" dirty="0" smtClean="0"/>
              <a:t>Measurement</a:t>
            </a:r>
            <a:r>
              <a:rPr lang="en-IN" b="1" dirty="0"/>
              <a:t>:</a:t>
            </a:r>
            <a:r>
              <a:rPr lang="en-IN" dirty="0"/>
              <a:t> DevOps ﬁnds a speciﬁc path to measurement. Quality and shared (or at least aligned) incentives are critical. </a:t>
            </a:r>
            <a:endParaRPr lang="en-IN" dirty="0" smtClean="0"/>
          </a:p>
          <a:p>
            <a:pPr marL="628650" lvl="1" indent="-342900" algn="just">
              <a:buFont typeface="+mj-lt"/>
              <a:buAutoNum type="arabicPeriod"/>
            </a:pPr>
            <a:endParaRPr lang="en-IN" dirty="0" smtClean="0"/>
          </a:p>
          <a:p>
            <a:pPr marL="628650" lvl="1" indent="-342900" algn="just">
              <a:buFont typeface="+mj-lt"/>
              <a:buAutoNum type="arabicPeriod"/>
            </a:pPr>
            <a:r>
              <a:rPr lang="en-IN" b="1" dirty="0" smtClean="0"/>
              <a:t>Sharing</a:t>
            </a:r>
            <a:r>
              <a:rPr lang="en-IN" b="1" dirty="0"/>
              <a:t>:</a:t>
            </a:r>
            <a:r>
              <a:rPr lang="en-IN" dirty="0"/>
              <a:t> Creates a culture where people share ideas, processes, and tools</a:t>
            </a:r>
            <a:r>
              <a:rPr lang="en-IN" dirty="0" smtClean="0"/>
              <a:t>.</a:t>
            </a:r>
            <a:r>
              <a:rPr lang="en-IN" altLang="en-US" b="0" dirty="0" smtClean="0"/>
              <a:t> </a:t>
            </a:r>
            <a:endParaRPr lang="en-IN" altLang="en-US" b="0" dirty="0"/>
          </a:p>
        </p:txBody>
      </p:sp>
    </p:spTree>
    <p:extLst>
      <p:ext uri="{BB962C8B-B14F-4D97-AF65-F5344CB8AC3E}">
        <p14:creationId xmlns:p14="http://schemas.microsoft.com/office/powerpoint/2010/main" val="171747497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gonal Stripe 1"/>
          <p:cNvSpPr/>
          <p:nvPr/>
        </p:nvSpPr>
        <p:spPr>
          <a:xfrm rot="2640000">
            <a:off x="1649811" y="1997066"/>
            <a:ext cx="5788019" cy="5560929"/>
          </a:xfrm>
          <a:prstGeom prst="diagStripe">
            <a:avLst/>
          </a:prstGeom>
          <a:gradFill flip="none" rotWithShape="1">
            <a:gsLst>
              <a:gs pos="0">
                <a:srgbClr val="5E9EFF"/>
              </a:gs>
              <a:gs pos="32000">
                <a:srgbClr val="85C2FF"/>
              </a:gs>
              <a:gs pos="67000">
                <a:srgbClr val="C4D6EB"/>
              </a:gs>
              <a:gs pos="91000">
                <a:srgbClr val="FFEBFA"/>
              </a:gs>
            </a:gsLst>
            <a:path path="circle">
              <a:fillToRect l="100000" t="100000"/>
            </a:path>
            <a:tileRect r="-100000" b="-100000"/>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8" name="Text Placeholder 7"/>
          <p:cNvSpPr>
            <a:spLocks noGrp="1"/>
          </p:cNvSpPr>
          <p:nvPr>
            <p:ph type="body" sz="quarter" idx="13"/>
          </p:nvPr>
        </p:nvSpPr>
        <p:spPr>
          <a:xfrm>
            <a:off x="1187357" y="3911705"/>
            <a:ext cx="6596409" cy="307777"/>
          </a:xfrm>
        </p:spPr>
        <p:txBody>
          <a:bodyPr/>
          <a:lstStyle/>
          <a:p>
            <a:pPr algn="ctr"/>
            <a:r>
              <a:rPr lang="en-US" sz="2000" dirty="0"/>
              <a:t>Delivering continuous value without barriers</a:t>
            </a:r>
          </a:p>
        </p:txBody>
      </p:sp>
      <p:sp>
        <p:nvSpPr>
          <p:cNvPr id="75" name="Hexagon 74"/>
          <p:cNvSpPr/>
          <p:nvPr/>
        </p:nvSpPr>
        <p:spPr>
          <a:xfrm>
            <a:off x="641436" y="5386420"/>
            <a:ext cx="1229775" cy="365760"/>
          </a:xfrm>
          <a:prstGeom prst="hexagon">
            <a:avLst/>
          </a:prstGeom>
          <a:solidFill>
            <a:srgbClr val="00B050"/>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b="1" dirty="0" smtClean="0">
                <a:solidFill>
                  <a:schemeClr val="bg1"/>
                </a:solidFill>
              </a:rPr>
              <a:t>Continuous Planning</a:t>
            </a:r>
            <a:endParaRPr lang="en-US" sz="1100" b="1" dirty="0">
              <a:solidFill>
                <a:schemeClr val="bg1"/>
              </a:solidFill>
            </a:endParaRPr>
          </a:p>
        </p:txBody>
      </p:sp>
      <p:sp>
        <p:nvSpPr>
          <p:cNvPr id="76" name="Hexagon 75"/>
          <p:cNvSpPr/>
          <p:nvPr/>
        </p:nvSpPr>
        <p:spPr>
          <a:xfrm>
            <a:off x="1857564" y="5386420"/>
            <a:ext cx="3097001" cy="365760"/>
          </a:xfrm>
          <a:prstGeom prst="hexagon">
            <a:avLst/>
          </a:prstGeom>
          <a:solidFill>
            <a:schemeClr val="accent4">
              <a:lumMod val="5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b="1" dirty="0" smtClean="0">
                <a:solidFill>
                  <a:schemeClr val="bg1"/>
                </a:solidFill>
              </a:rPr>
              <a:t>Continuous Integration</a:t>
            </a:r>
            <a:endParaRPr lang="en-US" sz="1100" b="1" dirty="0">
              <a:solidFill>
                <a:schemeClr val="bg1"/>
              </a:solidFill>
            </a:endParaRPr>
          </a:p>
        </p:txBody>
      </p:sp>
      <p:sp>
        <p:nvSpPr>
          <p:cNvPr id="77" name="Hexagon 76"/>
          <p:cNvSpPr/>
          <p:nvPr/>
        </p:nvSpPr>
        <p:spPr>
          <a:xfrm>
            <a:off x="4945583" y="5386420"/>
            <a:ext cx="1234440" cy="365760"/>
          </a:xfrm>
          <a:prstGeom prst="hexagon">
            <a:avLst/>
          </a:prstGeom>
          <a:solidFill>
            <a:schemeClr val="tx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b="1" dirty="0" smtClean="0">
                <a:solidFill>
                  <a:schemeClr val="bg1"/>
                </a:solidFill>
              </a:rPr>
              <a:t>Continuous Testing</a:t>
            </a:r>
            <a:endParaRPr lang="en-US" sz="1100" b="1" dirty="0">
              <a:solidFill>
                <a:schemeClr val="bg1"/>
              </a:solidFill>
            </a:endParaRPr>
          </a:p>
        </p:txBody>
      </p:sp>
      <p:sp>
        <p:nvSpPr>
          <p:cNvPr id="78" name="Hexagon 77"/>
          <p:cNvSpPr/>
          <p:nvPr/>
        </p:nvSpPr>
        <p:spPr>
          <a:xfrm>
            <a:off x="6184721" y="5386420"/>
            <a:ext cx="1252728" cy="365760"/>
          </a:xfrm>
          <a:prstGeom prst="hexagon">
            <a:avLst/>
          </a:prstGeom>
          <a:solidFill>
            <a:srgbClr val="6600CC"/>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b="1" dirty="0" smtClean="0">
                <a:solidFill>
                  <a:schemeClr val="bg1"/>
                </a:solidFill>
              </a:rPr>
              <a:t>Continuous Deployment</a:t>
            </a:r>
            <a:endParaRPr lang="en-US" sz="1100" b="1" dirty="0">
              <a:solidFill>
                <a:schemeClr val="bg1"/>
              </a:solidFill>
            </a:endParaRPr>
          </a:p>
        </p:txBody>
      </p:sp>
      <p:grpSp>
        <p:nvGrpSpPr>
          <p:cNvPr id="19" name="Group 18"/>
          <p:cNvGrpSpPr/>
          <p:nvPr/>
        </p:nvGrpSpPr>
        <p:grpSpPr>
          <a:xfrm>
            <a:off x="425778" y="4547206"/>
            <a:ext cx="8284462" cy="654336"/>
            <a:chOff x="425778" y="3103610"/>
            <a:chExt cx="8284462" cy="654336"/>
          </a:xfrm>
        </p:grpSpPr>
        <p:sp>
          <p:nvSpPr>
            <p:cNvPr id="55" name="Rounded Rectangle 54"/>
            <p:cNvSpPr/>
            <p:nvPr/>
          </p:nvSpPr>
          <p:spPr>
            <a:xfrm>
              <a:off x="425778" y="3103610"/>
              <a:ext cx="868565" cy="654336"/>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Business Planning</a:t>
              </a:r>
              <a:endParaRPr lang="en-US" sz="1000" b="1" dirty="0">
                <a:latin typeface="Arial" pitchFamily="34" charset="0"/>
                <a:cs typeface="Arial" pitchFamily="34" charset="0"/>
              </a:endParaRPr>
            </a:p>
          </p:txBody>
        </p:sp>
        <p:sp>
          <p:nvSpPr>
            <p:cNvPr id="56" name="Rounded Rectangle 55"/>
            <p:cNvSpPr/>
            <p:nvPr/>
          </p:nvSpPr>
          <p:spPr>
            <a:xfrm>
              <a:off x="1424603" y="3103611"/>
              <a:ext cx="868565" cy="654335"/>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a:latin typeface="Arial" pitchFamily="34" charset="0"/>
                  <a:cs typeface="Arial" pitchFamily="34" charset="0"/>
                </a:rPr>
                <a:t>Project </a:t>
              </a:r>
              <a:r>
                <a:rPr lang="en-US" sz="1000" b="1" dirty="0" smtClean="0">
                  <a:latin typeface="Arial" pitchFamily="34" charset="0"/>
                  <a:cs typeface="Arial" pitchFamily="34" charset="0"/>
                </a:rPr>
                <a:t> &amp; </a:t>
              </a:r>
              <a:r>
                <a:rPr lang="en-US" sz="1000" b="1" dirty="0">
                  <a:latin typeface="Arial" pitchFamily="34" charset="0"/>
                  <a:cs typeface="Arial" pitchFamily="34" charset="0"/>
                </a:rPr>
                <a:t>Release Planning </a:t>
              </a:r>
            </a:p>
          </p:txBody>
        </p:sp>
        <p:sp>
          <p:nvSpPr>
            <p:cNvPr id="57" name="Rounded Rectangle 56"/>
            <p:cNvSpPr/>
            <p:nvPr/>
          </p:nvSpPr>
          <p:spPr>
            <a:xfrm>
              <a:off x="2481317" y="3110996"/>
              <a:ext cx="998850" cy="639564"/>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a:latin typeface="Arial" pitchFamily="34" charset="0"/>
                  <a:cs typeface="Arial" pitchFamily="34" charset="0"/>
                </a:rPr>
                <a:t>Requirement Management</a:t>
              </a:r>
            </a:p>
          </p:txBody>
        </p:sp>
        <p:sp>
          <p:nvSpPr>
            <p:cNvPr id="58" name="Rounded Rectangle 57"/>
            <p:cNvSpPr/>
            <p:nvPr/>
          </p:nvSpPr>
          <p:spPr>
            <a:xfrm>
              <a:off x="3623561" y="3110996"/>
              <a:ext cx="790889" cy="639564"/>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Design &amp; Develop</a:t>
              </a:r>
              <a:endParaRPr lang="en-US" sz="1000" b="1" dirty="0">
                <a:latin typeface="Arial" pitchFamily="34" charset="0"/>
                <a:cs typeface="Arial" pitchFamily="34" charset="0"/>
              </a:endParaRPr>
            </a:p>
          </p:txBody>
        </p:sp>
        <p:sp>
          <p:nvSpPr>
            <p:cNvPr id="59" name="Rounded Rectangle 58"/>
            <p:cNvSpPr/>
            <p:nvPr/>
          </p:nvSpPr>
          <p:spPr>
            <a:xfrm>
              <a:off x="4587030" y="3110996"/>
              <a:ext cx="868565" cy="639564"/>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Build &amp; CI</a:t>
              </a:r>
              <a:endParaRPr lang="en-US" sz="1000" b="1" dirty="0">
                <a:latin typeface="Arial" pitchFamily="34" charset="0"/>
                <a:cs typeface="Arial" pitchFamily="34" charset="0"/>
              </a:endParaRPr>
            </a:p>
          </p:txBody>
        </p:sp>
        <p:sp>
          <p:nvSpPr>
            <p:cNvPr id="60" name="Rounded Rectangle 59"/>
            <p:cNvSpPr/>
            <p:nvPr/>
          </p:nvSpPr>
          <p:spPr>
            <a:xfrm>
              <a:off x="5621677" y="3110997"/>
              <a:ext cx="868565" cy="639563"/>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Testing</a:t>
              </a:r>
              <a:endParaRPr lang="en-US" sz="1000" b="1" dirty="0">
                <a:latin typeface="Arial" pitchFamily="34" charset="0"/>
                <a:cs typeface="Arial" pitchFamily="34" charset="0"/>
              </a:endParaRPr>
            </a:p>
          </p:txBody>
        </p:sp>
        <p:sp>
          <p:nvSpPr>
            <p:cNvPr id="61" name="Rounded Rectangle 60"/>
            <p:cNvSpPr/>
            <p:nvPr/>
          </p:nvSpPr>
          <p:spPr>
            <a:xfrm>
              <a:off x="6662765" y="3110997"/>
              <a:ext cx="1025465" cy="639563"/>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Release control &amp; Change Management</a:t>
              </a:r>
              <a:endParaRPr lang="en-US" sz="1000" b="1" dirty="0">
                <a:latin typeface="Arial" pitchFamily="34" charset="0"/>
                <a:cs typeface="Arial" pitchFamily="34" charset="0"/>
              </a:endParaRPr>
            </a:p>
          </p:txBody>
        </p:sp>
        <p:sp>
          <p:nvSpPr>
            <p:cNvPr id="62" name="Rounded Rectangle 61"/>
            <p:cNvSpPr/>
            <p:nvPr/>
          </p:nvSpPr>
          <p:spPr>
            <a:xfrm>
              <a:off x="7879715" y="3125096"/>
              <a:ext cx="830525" cy="611365"/>
            </a:xfrm>
            <a:prstGeom prst="roundRect">
              <a:avLst/>
            </a:prstGeom>
            <a:solidFill>
              <a:srgbClr val="0070C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b="1" dirty="0" smtClean="0">
                  <a:latin typeface="Arial" pitchFamily="34" charset="0"/>
                  <a:cs typeface="Arial" pitchFamily="34" charset="0"/>
                </a:rPr>
                <a:t>Operation &amp; Monitoring</a:t>
              </a:r>
              <a:endParaRPr lang="en-US" sz="1000" b="1" dirty="0">
                <a:latin typeface="Arial" pitchFamily="34" charset="0"/>
                <a:cs typeface="Arial" pitchFamily="34" charset="0"/>
              </a:endParaRPr>
            </a:p>
          </p:txBody>
        </p:sp>
        <p:sp>
          <p:nvSpPr>
            <p:cNvPr id="63" name="Right Arrow 62"/>
            <p:cNvSpPr/>
            <p:nvPr/>
          </p:nvSpPr>
          <p:spPr>
            <a:xfrm>
              <a:off x="1283056"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4" name="Right Arrow 63"/>
            <p:cNvSpPr/>
            <p:nvPr/>
          </p:nvSpPr>
          <p:spPr>
            <a:xfrm>
              <a:off x="2320178"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5" name="Right Arrow 64"/>
            <p:cNvSpPr/>
            <p:nvPr/>
          </p:nvSpPr>
          <p:spPr>
            <a:xfrm>
              <a:off x="3490164"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6" name="Right Arrow 65"/>
            <p:cNvSpPr/>
            <p:nvPr/>
          </p:nvSpPr>
          <p:spPr>
            <a:xfrm>
              <a:off x="4431109"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7" name="Right Arrow 66"/>
            <p:cNvSpPr/>
            <p:nvPr/>
          </p:nvSpPr>
          <p:spPr>
            <a:xfrm>
              <a:off x="5468232"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8" name="Right Arrow 67"/>
            <p:cNvSpPr/>
            <p:nvPr/>
          </p:nvSpPr>
          <p:spPr>
            <a:xfrm>
              <a:off x="6505354"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sp>
          <p:nvSpPr>
            <p:cNvPr id="69" name="Right Arrow 68"/>
            <p:cNvSpPr/>
            <p:nvPr/>
          </p:nvSpPr>
          <p:spPr>
            <a:xfrm>
              <a:off x="7712025" y="3296221"/>
              <a:ext cx="153446" cy="269114"/>
            </a:xfrm>
            <a:prstGeom prst="rightArrow">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endParaRPr lang="en-US" dirty="0"/>
            </a:p>
          </p:txBody>
        </p:sp>
      </p:grpSp>
      <p:grpSp>
        <p:nvGrpSpPr>
          <p:cNvPr id="43" name="Group 94"/>
          <p:cNvGrpSpPr>
            <a:grpSpLocks/>
          </p:cNvGrpSpPr>
          <p:nvPr/>
        </p:nvGrpSpPr>
        <p:grpSpPr bwMode="auto">
          <a:xfrm>
            <a:off x="310305" y="1024683"/>
            <a:ext cx="8553450" cy="2765425"/>
            <a:chOff x="58738" y="1966627"/>
            <a:chExt cx="9017000" cy="2886963"/>
          </a:xfrm>
        </p:grpSpPr>
        <p:sp>
          <p:nvSpPr>
            <p:cNvPr id="44" name="Up Arrow 27"/>
            <p:cNvSpPr/>
            <p:nvPr/>
          </p:nvSpPr>
          <p:spPr bwMode="auto">
            <a:xfrm>
              <a:off x="485776" y="2180961"/>
              <a:ext cx="8172450" cy="2025544"/>
            </a:xfrm>
            <a:prstGeom prst="round2SameRect">
              <a:avLst/>
            </a:prstGeom>
            <a:solidFill>
              <a:srgbClr val="FFFF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r" fontAlgn="auto">
                <a:lnSpc>
                  <a:spcPct val="90000"/>
                </a:lnSpc>
                <a:spcBef>
                  <a:spcPts val="0"/>
                </a:spcBef>
                <a:spcAft>
                  <a:spcPts val="0"/>
                </a:spcAft>
                <a:buClr>
                  <a:srgbClr val="000000"/>
                </a:buClr>
                <a:buSzPct val="100000"/>
                <a:buFont typeface="Arial" charset="0"/>
                <a:buNone/>
                <a:defRPr/>
              </a:pPr>
              <a:endParaRPr lang="en-US" sz="1800" kern="0" dirty="0">
                <a:solidFill>
                  <a:sysClr val="windowText" lastClr="000000"/>
                </a:solidFill>
                <a:ea typeface="ＭＳ Ｐゴシック" charset="0"/>
                <a:cs typeface="ＭＳ Ｐゴシック" charset="0"/>
              </a:endParaRPr>
            </a:p>
          </p:txBody>
        </p:sp>
        <p:sp>
          <p:nvSpPr>
            <p:cNvPr id="45" name="AutoShape 20"/>
            <p:cNvSpPr>
              <a:spLocks noChangeArrowheads="1"/>
            </p:cNvSpPr>
            <p:nvPr/>
          </p:nvSpPr>
          <p:spPr bwMode="auto">
            <a:xfrm>
              <a:off x="605790" y="2619886"/>
              <a:ext cx="7949293" cy="1933258"/>
            </a:xfrm>
            <a:prstGeom prst="roundRect">
              <a:avLst>
                <a:gd name="adj" fmla="val 13262"/>
              </a:avLst>
            </a:prstGeom>
            <a:solidFill>
              <a:srgbClr val="FFFFFF"/>
            </a:solidFill>
            <a:ln>
              <a:noFill/>
            </a:ln>
            <a:effectLst>
              <a:innerShdw blurRad="63500" dist="12700" dir="16200000">
                <a:prstClr val="black">
                  <a:alpha val="50000"/>
                </a:prstClr>
              </a:innerShdw>
            </a:effectLst>
            <a:extLst/>
          </p:spPr>
          <p:txBody>
            <a:bodyPr wrap="none" anchor="ctr"/>
            <a:lstStyle/>
            <a:p>
              <a:pPr algn="r">
                <a:lnSpc>
                  <a:spcPct val="90000"/>
                </a:lnSpc>
                <a:buClr>
                  <a:srgbClr val="000000"/>
                </a:buClr>
                <a:buSzPct val="100000"/>
                <a:buFont typeface="Arial" charset="0"/>
                <a:buNone/>
                <a:defRPr/>
              </a:pPr>
              <a:endParaRPr lang="en-US" dirty="0">
                <a:ea typeface="ＭＳ Ｐゴシック" charset="0"/>
                <a:cs typeface="ＭＳ Ｐゴシック" charset="0"/>
              </a:endParaRPr>
            </a:p>
          </p:txBody>
        </p:sp>
        <p:grpSp>
          <p:nvGrpSpPr>
            <p:cNvPr id="46" name="Group 11"/>
            <p:cNvGrpSpPr>
              <a:grpSpLocks/>
            </p:cNvGrpSpPr>
            <p:nvPr/>
          </p:nvGrpSpPr>
          <p:grpSpPr bwMode="auto">
            <a:xfrm>
              <a:off x="58738" y="3834415"/>
              <a:ext cx="9017000" cy="1019175"/>
              <a:chOff x="58355" y="5725969"/>
              <a:chExt cx="9016639" cy="1019130"/>
            </a:xfrm>
          </p:grpSpPr>
          <p:pic>
            <p:nvPicPr>
              <p:cNvPr id="102" name="Picture 2"/>
              <p:cNvPicPr>
                <a:picLocks noChangeAspect="1"/>
              </p:cNvPicPr>
              <p:nvPr/>
            </p:nvPicPr>
            <p:blipFill>
              <a:blip r:embed="rId2"/>
              <a:srcRect/>
              <a:stretch>
                <a:fillRect/>
              </a:stretch>
            </p:blipFill>
            <p:spPr bwMode="auto">
              <a:xfrm>
                <a:off x="58355" y="5725969"/>
                <a:ext cx="9016639" cy="1019130"/>
              </a:xfrm>
              <a:prstGeom prst="rect">
                <a:avLst/>
              </a:prstGeom>
              <a:noFill/>
              <a:ln w="9525">
                <a:noFill/>
                <a:miter lim="800000"/>
                <a:headEnd/>
                <a:tailEnd/>
              </a:ln>
            </p:spPr>
          </p:pic>
          <p:sp>
            <p:nvSpPr>
              <p:cNvPr id="103" name="TextBox 4"/>
              <p:cNvSpPr txBox="1">
                <a:spLocks noChangeArrowheads="1"/>
              </p:cNvSpPr>
              <p:nvPr/>
            </p:nvSpPr>
            <p:spPr bwMode="auto">
              <a:xfrm>
                <a:off x="1201333" y="6057363"/>
                <a:ext cx="6926478" cy="301610"/>
              </a:xfrm>
              <a:prstGeom prst="rect">
                <a:avLst/>
              </a:prstGeom>
              <a:noFill/>
              <a:ln w="9525">
                <a:noFill/>
                <a:miter lim="800000"/>
                <a:headEnd/>
                <a:tailEnd/>
              </a:ln>
            </p:spPr>
            <p:txBody>
              <a:bodyPr>
                <a:spAutoFit/>
              </a:bodyPr>
              <a:lstStyle/>
              <a:p>
                <a:pPr algn="ctr">
                  <a:lnSpc>
                    <a:spcPct val="90000"/>
                  </a:lnSpc>
                  <a:buClr>
                    <a:srgbClr val="000000"/>
                  </a:buClr>
                  <a:buSzPct val="100000"/>
                  <a:buFont typeface="Arial" charset="0"/>
                  <a:buNone/>
                  <a:defRPr/>
                </a:pPr>
                <a:r>
                  <a:rPr lang="en-US" sz="1400" b="1" i="1" dirty="0">
                    <a:solidFill>
                      <a:srgbClr val="008A52"/>
                    </a:solidFill>
                    <a:latin typeface="Arial" pitchFamily="34" charset="0"/>
                  </a:rPr>
                  <a:t>Continuous Innovation, Feedback and Improvements</a:t>
                </a:r>
              </a:p>
            </p:txBody>
          </p:sp>
        </p:grpSp>
        <p:sp>
          <p:nvSpPr>
            <p:cNvPr id="47" name="Rectangle 33"/>
            <p:cNvSpPr>
              <a:spLocks noChangeArrowheads="1"/>
            </p:cNvSpPr>
            <p:nvPr/>
          </p:nvSpPr>
          <p:spPr bwMode="auto">
            <a:xfrm>
              <a:off x="1814275" y="2235105"/>
              <a:ext cx="5515967" cy="386144"/>
            </a:xfrm>
            <a:prstGeom prst="rect">
              <a:avLst/>
            </a:prstGeom>
            <a:noFill/>
            <a:ln w="9525">
              <a:noFill/>
              <a:miter lim="800000"/>
              <a:headEnd/>
              <a:tailEnd/>
            </a:ln>
          </p:spPr>
          <p:txBody>
            <a:bodyPr>
              <a:spAutoFit/>
            </a:bodyPr>
            <a:lstStyle/>
            <a:p>
              <a:pPr algn="ctr" defTabSz="457200" eaLnBrk="0" hangingPunct="0">
                <a:buClr>
                  <a:srgbClr val="000000"/>
                </a:buClr>
                <a:buSzPct val="100000"/>
                <a:buFont typeface="Arial" charset="0"/>
                <a:buNone/>
                <a:defRPr/>
              </a:pPr>
              <a:r>
                <a:rPr lang="en-US" sz="1800" b="1" i="1" dirty="0">
                  <a:solidFill>
                    <a:srgbClr val="00B0F0"/>
                  </a:solidFill>
                  <a:latin typeface="Arial" pitchFamily="34" charset="0"/>
                  <a:ea typeface="SimSun" pitchFamily="2" charset="-122"/>
                </a:rPr>
                <a:t>DevOps Lifecycle</a:t>
              </a:r>
            </a:p>
          </p:txBody>
        </p:sp>
        <p:sp>
          <p:nvSpPr>
            <p:cNvPr id="48" name="Round Same Side Corner Rectangle 47"/>
            <p:cNvSpPr/>
            <p:nvPr/>
          </p:nvSpPr>
          <p:spPr bwMode="auto">
            <a:xfrm flipV="1">
              <a:off x="614440" y="3633111"/>
              <a:ext cx="7940643" cy="613567"/>
            </a:xfrm>
            <a:prstGeom prst="round2SameRect">
              <a:avLst>
                <a:gd name="adj1" fmla="val 22727"/>
                <a:gd name="adj2" fmla="val 0"/>
              </a:avLst>
            </a:prstGeom>
            <a:gradFill flip="none" rotWithShape="0">
              <a:gsLst>
                <a:gs pos="100000">
                  <a:srgbClr val="99CCFF">
                    <a:alpha val="0"/>
                  </a:srgbClr>
                </a:gs>
                <a:gs pos="0">
                  <a:srgbClr val="8CC63F">
                    <a:alpha val="74902"/>
                  </a:srgbClr>
                </a:gs>
                <a:gs pos="100000">
                  <a:srgbClr val="81DEFF">
                    <a:alpha val="0"/>
                  </a:srgbClr>
                </a:gs>
              </a:gsLst>
              <a:lin ang="5400000" scaled="1"/>
              <a:tileRect/>
            </a:gradFill>
            <a:ln>
              <a:noFill/>
            </a:ln>
            <a:effectLst/>
          </p:spPr>
          <p:txBody>
            <a:bodyPr/>
            <a:lstStyle/>
            <a:p>
              <a:pPr algn="r">
                <a:lnSpc>
                  <a:spcPct val="90000"/>
                </a:lnSpc>
                <a:buClr>
                  <a:srgbClr val="000000"/>
                </a:buClr>
                <a:buSzPct val="100000"/>
                <a:buFont typeface="Arial" charset="0"/>
                <a:buNone/>
                <a:defRPr/>
              </a:pPr>
              <a:endParaRPr lang="en-US" dirty="0">
                <a:ea typeface="ＭＳ Ｐゴシック" charset="0"/>
                <a:cs typeface="ＭＳ Ｐゴシック" charset="0"/>
              </a:endParaRPr>
            </a:p>
          </p:txBody>
        </p:sp>
        <p:grpSp>
          <p:nvGrpSpPr>
            <p:cNvPr id="49" name="Group 104"/>
            <p:cNvGrpSpPr/>
            <p:nvPr/>
          </p:nvGrpSpPr>
          <p:grpSpPr>
            <a:xfrm>
              <a:off x="2171856" y="3356018"/>
              <a:ext cx="702352" cy="544586"/>
              <a:chOff x="2171856" y="4066338"/>
              <a:chExt cx="702352" cy="544586"/>
            </a:xfrm>
            <a:effectLst>
              <a:outerShdw blurRad="63500" sx="102000" sy="102000" algn="ctr" rotWithShape="0">
                <a:prstClr val="black">
                  <a:alpha val="40000"/>
                </a:prstClr>
              </a:outerShdw>
            </a:effectLst>
          </p:grpSpPr>
          <p:sp>
            <p:nvSpPr>
              <p:cNvPr id="100" name="Freeform 6"/>
              <p:cNvSpPr>
                <a:spLocks/>
              </p:cNvSpPr>
              <p:nvPr/>
            </p:nvSpPr>
            <p:spPr bwMode="auto">
              <a:xfrm>
                <a:off x="2357669" y="4149311"/>
                <a:ext cx="516539" cy="461613"/>
              </a:xfrm>
              <a:custGeom>
                <a:avLst/>
                <a:gdLst/>
                <a:ahLst/>
                <a:cxnLst>
                  <a:cxn ang="0">
                    <a:pos x="1284" y="990"/>
                  </a:cxn>
                  <a:cxn ang="0">
                    <a:pos x="1284" y="1014"/>
                  </a:cxn>
                  <a:cxn ang="0">
                    <a:pos x="1278" y="1092"/>
                  </a:cxn>
                  <a:cxn ang="0">
                    <a:pos x="1272" y="1170"/>
                  </a:cxn>
                  <a:cxn ang="0">
                    <a:pos x="1254" y="1248"/>
                  </a:cxn>
                  <a:cxn ang="0">
                    <a:pos x="1230" y="1332"/>
                  </a:cxn>
                  <a:cxn ang="0">
                    <a:pos x="1194" y="1410"/>
                  </a:cxn>
                  <a:cxn ang="0">
                    <a:pos x="1146" y="1500"/>
                  </a:cxn>
                  <a:cxn ang="0">
                    <a:pos x="1086" y="1590"/>
                  </a:cxn>
                  <a:cxn ang="0">
                    <a:pos x="1032" y="1656"/>
                  </a:cxn>
                  <a:cxn ang="0">
                    <a:pos x="966" y="1734"/>
                  </a:cxn>
                  <a:cxn ang="0">
                    <a:pos x="858" y="1824"/>
                  </a:cxn>
                  <a:cxn ang="0">
                    <a:pos x="744" y="1908"/>
                  </a:cxn>
                  <a:cxn ang="0">
                    <a:pos x="618" y="1974"/>
                  </a:cxn>
                  <a:cxn ang="0">
                    <a:pos x="480" y="2022"/>
                  </a:cxn>
                  <a:cxn ang="0">
                    <a:pos x="336" y="2058"/>
                  </a:cxn>
                  <a:cxn ang="0">
                    <a:pos x="192" y="2076"/>
                  </a:cxn>
                  <a:cxn ang="0">
                    <a:pos x="0" y="2070"/>
                  </a:cxn>
                  <a:cxn ang="0">
                    <a:pos x="48" y="2106"/>
                  </a:cxn>
                  <a:cxn ang="0">
                    <a:pos x="246" y="2232"/>
                  </a:cxn>
                  <a:cxn ang="0">
                    <a:pos x="462" y="2316"/>
                  </a:cxn>
                  <a:cxn ang="0">
                    <a:pos x="684" y="2358"/>
                  </a:cxn>
                  <a:cxn ang="0">
                    <a:pos x="912" y="2370"/>
                  </a:cxn>
                  <a:cxn ang="0">
                    <a:pos x="1140" y="2346"/>
                  </a:cxn>
                  <a:cxn ang="0">
                    <a:pos x="1356" y="2286"/>
                  </a:cxn>
                  <a:cxn ang="0">
                    <a:pos x="1554" y="2196"/>
                  </a:cxn>
                  <a:cxn ang="0">
                    <a:pos x="1698" y="2112"/>
                  </a:cxn>
                  <a:cxn ang="0">
                    <a:pos x="1806" y="2022"/>
                  </a:cxn>
                  <a:cxn ang="0">
                    <a:pos x="1932" y="1896"/>
                  </a:cxn>
                  <a:cxn ang="0">
                    <a:pos x="2040" y="1752"/>
                  </a:cxn>
                  <a:cxn ang="0">
                    <a:pos x="2124" y="1602"/>
                  </a:cxn>
                  <a:cxn ang="0">
                    <a:pos x="2190" y="1452"/>
                  </a:cxn>
                  <a:cxn ang="0">
                    <a:pos x="2238" y="1302"/>
                  </a:cxn>
                  <a:cxn ang="0">
                    <a:pos x="2268" y="1158"/>
                  </a:cxn>
                  <a:cxn ang="0">
                    <a:pos x="2280" y="990"/>
                  </a:cxn>
                  <a:cxn ang="0">
                    <a:pos x="1782" y="0"/>
                  </a:cxn>
                </a:cxnLst>
                <a:rect l="0" t="0" r="r" b="b"/>
                <a:pathLst>
                  <a:path w="2652" h="2370">
                    <a:moveTo>
                      <a:pt x="912" y="990"/>
                    </a:moveTo>
                    <a:lnTo>
                      <a:pt x="1284" y="990"/>
                    </a:lnTo>
                    <a:lnTo>
                      <a:pt x="1284" y="990"/>
                    </a:lnTo>
                    <a:lnTo>
                      <a:pt x="1284" y="1014"/>
                    </a:lnTo>
                    <a:lnTo>
                      <a:pt x="1284" y="1050"/>
                    </a:lnTo>
                    <a:lnTo>
                      <a:pt x="1278" y="1092"/>
                    </a:lnTo>
                    <a:lnTo>
                      <a:pt x="1278" y="1128"/>
                    </a:lnTo>
                    <a:lnTo>
                      <a:pt x="1272" y="1170"/>
                    </a:lnTo>
                    <a:lnTo>
                      <a:pt x="1266" y="1206"/>
                    </a:lnTo>
                    <a:lnTo>
                      <a:pt x="1254" y="1248"/>
                    </a:lnTo>
                    <a:lnTo>
                      <a:pt x="1242" y="1290"/>
                    </a:lnTo>
                    <a:lnTo>
                      <a:pt x="1230" y="1332"/>
                    </a:lnTo>
                    <a:lnTo>
                      <a:pt x="1212" y="1368"/>
                    </a:lnTo>
                    <a:lnTo>
                      <a:pt x="1194" y="1410"/>
                    </a:lnTo>
                    <a:lnTo>
                      <a:pt x="1170" y="1458"/>
                    </a:lnTo>
                    <a:lnTo>
                      <a:pt x="1146" y="1500"/>
                    </a:lnTo>
                    <a:lnTo>
                      <a:pt x="1122" y="1542"/>
                    </a:lnTo>
                    <a:lnTo>
                      <a:pt x="1086" y="1590"/>
                    </a:lnTo>
                    <a:lnTo>
                      <a:pt x="1032" y="1656"/>
                    </a:lnTo>
                    <a:lnTo>
                      <a:pt x="1032" y="1656"/>
                    </a:lnTo>
                    <a:lnTo>
                      <a:pt x="1014" y="1680"/>
                    </a:lnTo>
                    <a:lnTo>
                      <a:pt x="966" y="1734"/>
                    </a:lnTo>
                    <a:lnTo>
                      <a:pt x="912" y="1782"/>
                    </a:lnTo>
                    <a:lnTo>
                      <a:pt x="858" y="1824"/>
                    </a:lnTo>
                    <a:lnTo>
                      <a:pt x="804" y="1866"/>
                    </a:lnTo>
                    <a:lnTo>
                      <a:pt x="744" y="1908"/>
                    </a:lnTo>
                    <a:lnTo>
                      <a:pt x="678" y="1938"/>
                    </a:lnTo>
                    <a:lnTo>
                      <a:pt x="618" y="1974"/>
                    </a:lnTo>
                    <a:lnTo>
                      <a:pt x="546" y="1998"/>
                    </a:lnTo>
                    <a:lnTo>
                      <a:pt x="480" y="2022"/>
                    </a:lnTo>
                    <a:lnTo>
                      <a:pt x="408" y="2040"/>
                    </a:lnTo>
                    <a:lnTo>
                      <a:pt x="336" y="2058"/>
                    </a:lnTo>
                    <a:lnTo>
                      <a:pt x="264" y="2070"/>
                    </a:lnTo>
                    <a:lnTo>
                      <a:pt x="192" y="2076"/>
                    </a:lnTo>
                    <a:lnTo>
                      <a:pt x="114" y="2076"/>
                    </a:lnTo>
                    <a:lnTo>
                      <a:pt x="0" y="2070"/>
                    </a:lnTo>
                    <a:lnTo>
                      <a:pt x="0" y="2070"/>
                    </a:lnTo>
                    <a:lnTo>
                      <a:pt x="48" y="2106"/>
                    </a:lnTo>
                    <a:lnTo>
                      <a:pt x="144" y="2178"/>
                    </a:lnTo>
                    <a:lnTo>
                      <a:pt x="246" y="2232"/>
                    </a:lnTo>
                    <a:lnTo>
                      <a:pt x="354" y="2280"/>
                    </a:lnTo>
                    <a:lnTo>
                      <a:pt x="462" y="2316"/>
                    </a:lnTo>
                    <a:lnTo>
                      <a:pt x="570" y="2346"/>
                    </a:lnTo>
                    <a:lnTo>
                      <a:pt x="684" y="2358"/>
                    </a:lnTo>
                    <a:lnTo>
                      <a:pt x="798" y="2370"/>
                    </a:lnTo>
                    <a:lnTo>
                      <a:pt x="912" y="2370"/>
                    </a:lnTo>
                    <a:lnTo>
                      <a:pt x="1026" y="2364"/>
                    </a:lnTo>
                    <a:lnTo>
                      <a:pt x="1140" y="2346"/>
                    </a:lnTo>
                    <a:lnTo>
                      <a:pt x="1248" y="2322"/>
                    </a:lnTo>
                    <a:lnTo>
                      <a:pt x="1356" y="2286"/>
                    </a:lnTo>
                    <a:lnTo>
                      <a:pt x="1458" y="2244"/>
                    </a:lnTo>
                    <a:lnTo>
                      <a:pt x="1554" y="2196"/>
                    </a:lnTo>
                    <a:lnTo>
                      <a:pt x="1698" y="2112"/>
                    </a:lnTo>
                    <a:lnTo>
                      <a:pt x="1698" y="2112"/>
                    </a:lnTo>
                    <a:lnTo>
                      <a:pt x="1734" y="2082"/>
                    </a:lnTo>
                    <a:lnTo>
                      <a:pt x="1806" y="2022"/>
                    </a:lnTo>
                    <a:lnTo>
                      <a:pt x="1872" y="1962"/>
                    </a:lnTo>
                    <a:lnTo>
                      <a:pt x="1932" y="1896"/>
                    </a:lnTo>
                    <a:lnTo>
                      <a:pt x="1992" y="1824"/>
                    </a:lnTo>
                    <a:lnTo>
                      <a:pt x="2040" y="1752"/>
                    </a:lnTo>
                    <a:lnTo>
                      <a:pt x="2088" y="1680"/>
                    </a:lnTo>
                    <a:lnTo>
                      <a:pt x="2124" y="1602"/>
                    </a:lnTo>
                    <a:lnTo>
                      <a:pt x="2160" y="1530"/>
                    </a:lnTo>
                    <a:lnTo>
                      <a:pt x="2190" y="1452"/>
                    </a:lnTo>
                    <a:lnTo>
                      <a:pt x="2214" y="1380"/>
                    </a:lnTo>
                    <a:lnTo>
                      <a:pt x="2238" y="1302"/>
                    </a:lnTo>
                    <a:lnTo>
                      <a:pt x="2256" y="1230"/>
                    </a:lnTo>
                    <a:lnTo>
                      <a:pt x="2268" y="1158"/>
                    </a:lnTo>
                    <a:lnTo>
                      <a:pt x="2274" y="1092"/>
                    </a:lnTo>
                    <a:lnTo>
                      <a:pt x="2280" y="990"/>
                    </a:lnTo>
                    <a:lnTo>
                      <a:pt x="2652" y="990"/>
                    </a:lnTo>
                    <a:lnTo>
                      <a:pt x="1782" y="0"/>
                    </a:lnTo>
                    <a:lnTo>
                      <a:pt x="912" y="990"/>
                    </a:lnTo>
                    <a:close/>
                  </a:path>
                </a:pathLst>
              </a:custGeom>
              <a:solidFill>
                <a:srgbClr val="00649D"/>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sp>
            <p:nvSpPr>
              <p:cNvPr id="101" name="Freeform 7"/>
              <p:cNvSpPr>
                <a:spLocks/>
              </p:cNvSpPr>
              <p:nvPr/>
            </p:nvSpPr>
            <p:spPr bwMode="auto">
              <a:xfrm>
                <a:off x="2171856" y="4066338"/>
                <a:ext cx="516539" cy="461613"/>
              </a:xfrm>
              <a:custGeom>
                <a:avLst/>
                <a:gdLst/>
                <a:ahLst/>
                <a:cxnLst>
                  <a:cxn ang="0">
                    <a:pos x="1368" y="1380"/>
                  </a:cxn>
                  <a:cxn ang="0">
                    <a:pos x="1368" y="1356"/>
                  </a:cxn>
                  <a:cxn ang="0">
                    <a:pos x="1368" y="1278"/>
                  </a:cxn>
                  <a:cxn ang="0">
                    <a:pos x="1380" y="1200"/>
                  </a:cxn>
                  <a:cxn ang="0">
                    <a:pos x="1392" y="1122"/>
                  </a:cxn>
                  <a:cxn ang="0">
                    <a:pos x="1422" y="1038"/>
                  </a:cxn>
                  <a:cxn ang="0">
                    <a:pos x="1458" y="960"/>
                  </a:cxn>
                  <a:cxn ang="0">
                    <a:pos x="1500" y="870"/>
                  </a:cxn>
                  <a:cxn ang="0">
                    <a:pos x="1560" y="780"/>
                  </a:cxn>
                  <a:cxn ang="0">
                    <a:pos x="1614" y="714"/>
                  </a:cxn>
                  <a:cxn ang="0">
                    <a:pos x="1686" y="636"/>
                  </a:cxn>
                  <a:cxn ang="0">
                    <a:pos x="1794" y="546"/>
                  </a:cxn>
                  <a:cxn ang="0">
                    <a:pos x="1908" y="462"/>
                  </a:cxn>
                  <a:cxn ang="0">
                    <a:pos x="2034" y="396"/>
                  </a:cxn>
                  <a:cxn ang="0">
                    <a:pos x="2172" y="348"/>
                  </a:cxn>
                  <a:cxn ang="0">
                    <a:pos x="2310" y="312"/>
                  </a:cxn>
                  <a:cxn ang="0">
                    <a:pos x="2460" y="294"/>
                  </a:cxn>
                  <a:cxn ang="0">
                    <a:pos x="2652" y="300"/>
                  </a:cxn>
                  <a:cxn ang="0">
                    <a:pos x="2604" y="264"/>
                  </a:cxn>
                  <a:cxn ang="0">
                    <a:pos x="2406" y="138"/>
                  </a:cxn>
                  <a:cxn ang="0">
                    <a:pos x="2190" y="54"/>
                  </a:cxn>
                  <a:cxn ang="0">
                    <a:pos x="1962" y="12"/>
                  </a:cxn>
                  <a:cxn ang="0">
                    <a:pos x="1740" y="0"/>
                  </a:cxn>
                  <a:cxn ang="0">
                    <a:pos x="1512" y="24"/>
                  </a:cxn>
                  <a:cxn ang="0">
                    <a:pos x="1296" y="84"/>
                  </a:cxn>
                  <a:cxn ang="0">
                    <a:pos x="1092" y="174"/>
                  </a:cxn>
                  <a:cxn ang="0">
                    <a:pos x="954" y="258"/>
                  </a:cxn>
                  <a:cxn ang="0">
                    <a:pos x="840" y="348"/>
                  </a:cxn>
                  <a:cxn ang="0">
                    <a:pos x="714" y="474"/>
                  </a:cxn>
                  <a:cxn ang="0">
                    <a:pos x="612" y="618"/>
                  </a:cxn>
                  <a:cxn ang="0">
                    <a:pos x="522" y="768"/>
                  </a:cxn>
                  <a:cxn ang="0">
                    <a:pos x="462" y="918"/>
                  </a:cxn>
                  <a:cxn ang="0">
                    <a:pos x="414" y="1068"/>
                  </a:cxn>
                  <a:cxn ang="0">
                    <a:pos x="384" y="1212"/>
                  </a:cxn>
                  <a:cxn ang="0">
                    <a:pos x="372" y="1380"/>
                  </a:cxn>
                  <a:cxn ang="0">
                    <a:pos x="870" y="2370"/>
                  </a:cxn>
                </a:cxnLst>
                <a:rect l="0" t="0" r="r" b="b"/>
                <a:pathLst>
                  <a:path w="2652" h="2370">
                    <a:moveTo>
                      <a:pt x="1740" y="1380"/>
                    </a:moveTo>
                    <a:lnTo>
                      <a:pt x="1368" y="1380"/>
                    </a:lnTo>
                    <a:lnTo>
                      <a:pt x="1368" y="1380"/>
                    </a:lnTo>
                    <a:lnTo>
                      <a:pt x="1368" y="1356"/>
                    </a:lnTo>
                    <a:lnTo>
                      <a:pt x="1368" y="1320"/>
                    </a:lnTo>
                    <a:lnTo>
                      <a:pt x="1368" y="1278"/>
                    </a:lnTo>
                    <a:lnTo>
                      <a:pt x="1374" y="1242"/>
                    </a:lnTo>
                    <a:lnTo>
                      <a:pt x="1380" y="1200"/>
                    </a:lnTo>
                    <a:lnTo>
                      <a:pt x="1386" y="1164"/>
                    </a:lnTo>
                    <a:lnTo>
                      <a:pt x="1392" y="1122"/>
                    </a:lnTo>
                    <a:lnTo>
                      <a:pt x="1404" y="1080"/>
                    </a:lnTo>
                    <a:lnTo>
                      <a:pt x="1422" y="1038"/>
                    </a:lnTo>
                    <a:lnTo>
                      <a:pt x="1434" y="1002"/>
                    </a:lnTo>
                    <a:lnTo>
                      <a:pt x="1458" y="960"/>
                    </a:lnTo>
                    <a:lnTo>
                      <a:pt x="1476" y="912"/>
                    </a:lnTo>
                    <a:lnTo>
                      <a:pt x="1500" y="870"/>
                    </a:lnTo>
                    <a:lnTo>
                      <a:pt x="1530" y="828"/>
                    </a:lnTo>
                    <a:lnTo>
                      <a:pt x="1560" y="780"/>
                    </a:lnTo>
                    <a:lnTo>
                      <a:pt x="1614" y="714"/>
                    </a:lnTo>
                    <a:lnTo>
                      <a:pt x="1614" y="714"/>
                    </a:lnTo>
                    <a:lnTo>
                      <a:pt x="1638" y="690"/>
                    </a:lnTo>
                    <a:lnTo>
                      <a:pt x="1686" y="636"/>
                    </a:lnTo>
                    <a:lnTo>
                      <a:pt x="1740" y="588"/>
                    </a:lnTo>
                    <a:lnTo>
                      <a:pt x="1794" y="546"/>
                    </a:lnTo>
                    <a:lnTo>
                      <a:pt x="1848" y="504"/>
                    </a:lnTo>
                    <a:lnTo>
                      <a:pt x="1908" y="462"/>
                    </a:lnTo>
                    <a:lnTo>
                      <a:pt x="1968" y="432"/>
                    </a:lnTo>
                    <a:lnTo>
                      <a:pt x="2034" y="396"/>
                    </a:lnTo>
                    <a:lnTo>
                      <a:pt x="2100" y="372"/>
                    </a:lnTo>
                    <a:lnTo>
                      <a:pt x="2172" y="348"/>
                    </a:lnTo>
                    <a:lnTo>
                      <a:pt x="2238" y="330"/>
                    </a:lnTo>
                    <a:lnTo>
                      <a:pt x="2310" y="312"/>
                    </a:lnTo>
                    <a:lnTo>
                      <a:pt x="2382" y="300"/>
                    </a:lnTo>
                    <a:lnTo>
                      <a:pt x="2460" y="294"/>
                    </a:lnTo>
                    <a:lnTo>
                      <a:pt x="2538" y="294"/>
                    </a:lnTo>
                    <a:lnTo>
                      <a:pt x="2652" y="300"/>
                    </a:lnTo>
                    <a:lnTo>
                      <a:pt x="2652" y="300"/>
                    </a:lnTo>
                    <a:lnTo>
                      <a:pt x="2604" y="264"/>
                    </a:lnTo>
                    <a:lnTo>
                      <a:pt x="2508" y="192"/>
                    </a:lnTo>
                    <a:lnTo>
                      <a:pt x="2406" y="138"/>
                    </a:lnTo>
                    <a:lnTo>
                      <a:pt x="2298" y="90"/>
                    </a:lnTo>
                    <a:lnTo>
                      <a:pt x="2190" y="54"/>
                    </a:lnTo>
                    <a:lnTo>
                      <a:pt x="2076" y="24"/>
                    </a:lnTo>
                    <a:lnTo>
                      <a:pt x="1962" y="12"/>
                    </a:lnTo>
                    <a:lnTo>
                      <a:pt x="1854" y="0"/>
                    </a:lnTo>
                    <a:lnTo>
                      <a:pt x="1740" y="0"/>
                    </a:lnTo>
                    <a:lnTo>
                      <a:pt x="1626" y="6"/>
                    </a:lnTo>
                    <a:lnTo>
                      <a:pt x="1512" y="24"/>
                    </a:lnTo>
                    <a:lnTo>
                      <a:pt x="1404" y="48"/>
                    </a:lnTo>
                    <a:lnTo>
                      <a:pt x="1296" y="84"/>
                    </a:lnTo>
                    <a:lnTo>
                      <a:pt x="1194" y="126"/>
                    </a:lnTo>
                    <a:lnTo>
                      <a:pt x="1092" y="174"/>
                    </a:lnTo>
                    <a:lnTo>
                      <a:pt x="954" y="258"/>
                    </a:lnTo>
                    <a:lnTo>
                      <a:pt x="954" y="258"/>
                    </a:lnTo>
                    <a:lnTo>
                      <a:pt x="912" y="288"/>
                    </a:lnTo>
                    <a:lnTo>
                      <a:pt x="840" y="348"/>
                    </a:lnTo>
                    <a:lnTo>
                      <a:pt x="774" y="408"/>
                    </a:lnTo>
                    <a:lnTo>
                      <a:pt x="714" y="474"/>
                    </a:lnTo>
                    <a:lnTo>
                      <a:pt x="660" y="546"/>
                    </a:lnTo>
                    <a:lnTo>
                      <a:pt x="612" y="618"/>
                    </a:lnTo>
                    <a:lnTo>
                      <a:pt x="564" y="690"/>
                    </a:lnTo>
                    <a:lnTo>
                      <a:pt x="522" y="768"/>
                    </a:lnTo>
                    <a:lnTo>
                      <a:pt x="492" y="840"/>
                    </a:lnTo>
                    <a:lnTo>
                      <a:pt x="462" y="918"/>
                    </a:lnTo>
                    <a:lnTo>
                      <a:pt x="432" y="990"/>
                    </a:lnTo>
                    <a:lnTo>
                      <a:pt x="414" y="1068"/>
                    </a:lnTo>
                    <a:lnTo>
                      <a:pt x="396" y="1140"/>
                    </a:lnTo>
                    <a:lnTo>
                      <a:pt x="384" y="1212"/>
                    </a:lnTo>
                    <a:lnTo>
                      <a:pt x="378" y="1278"/>
                    </a:lnTo>
                    <a:lnTo>
                      <a:pt x="372" y="1380"/>
                    </a:lnTo>
                    <a:lnTo>
                      <a:pt x="0" y="1380"/>
                    </a:lnTo>
                    <a:lnTo>
                      <a:pt x="870" y="2370"/>
                    </a:lnTo>
                    <a:lnTo>
                      <a:pt x="1740" y="1380"/>
                    </a:lnTo>
                    <a:close/>
                  </a:path>
                </a:pathLst>
              </a:custGeom>
              <a:solidFill>
                <a:srgbClr val="17AF4B"/>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grpSp>
        <p:grpSp>
          <p:nvGrpSpPr>
            <p:cNvPr id="50" name="Group 107"/>
            <p:cNvGrpSpPr/>
            <p:nvPr/>
          </p:nvGrpSpPr>
          <p:grpSpPr>
            <a:xfrm>
              <a:off x="4233585" y="3356018"/>
              <a:ext cx="702352" cy="544586"/>
              <a:chOff x="4233585" y="4066338"/>
              <a:chExt cx="702352" cy="544586"/>
            </a:xfrm>
            <a:effectLst>
              <a:outerShdw blurRad="63500" sx="102000" sy="102000" algn="ctr" rotWithShape="0">
                <a:prstClr val="black">
                  <a:alpha val="40000"/>
                </a:prstClr>
              </a:outerShdw>
            </a:effectLst>
          </p:grpSpPr>
          <p:sp>
            <p:nvSpPr>
              <p:cNvPr id="97" name="Freeform 6"/>
              <p:cNvSpPr>
                <a:spLocks/>
              </p:cNvSpPr>
              <p:nvPr/>
            </p:nvSpPr>
            <p:spPr bwMode="auto">
              <a:xfrm>
                <a:off x="4419398" y="4149311"/>
                <a:ext cx="516539" cy="461613"/>
              </a:xfrm>
              <a:custGeom>
                <a:avLst/>
                <a:gdLst/>
                <a:ahLst/>
                <a:cxnLst>
                  <a:cxn ang="0">
                    <a:pos x="1284" y="990"/>
                  </a:cxn>
                  <a:cxn ang="0">
                    <a:pos x="1284" y="1014"/>
                  </a:cxn>
                  <a:cxn ang="0">
                    <a:pos x="1278" y="1092"/>
                  </a:cxn>
                  <a:cxn ang="0">
                    <a:pos x="1272" y="1170"/>
                  </a:cxn>
                  <a:cxn ang="0">
                    <a:pos x="1254" y="1248"/>
                  </a:cxn>
                  <a:cxn ang="0">
                    <a:pos x="1230" y="1332"/>
                  </a:cxn>
                  <a:cxn ang="0">
                    <a:pos x="1194" y="1410"/>
                  </a:cxn>
                  <a:cxn ang="0">
                    <a:pos x="1146" y="1500"/>
                  </a:cxn>
                  <a:cxn ang="0">
                    <a:pos x="1086" y="1590"/>
                  </a:cxn>
                  <a:cxn ang="0">
                    <a:pos x="1032" y="1656"/>
                  </a:cxn>
                  <a:cxn ang="0">
                    <a:pos x="966" y="1734"/>
                  </a:cxn>
                  <a:cxn ang="0">
                    <a:pos x="858" y="1824"/>
                  </a:cxn>
                  <a:cxn ang="0">
                    <a:pos x="744" y="1908"/>
                  </a:cxn>
                  <a:cxn ang="0">
                    <a:pos x="618" y="1974"/>
                  </a:cxn>
                  <a:cxn ang="0">
                    <a:pos x="480" y="2022"/>
                  </a:cxn>
                  <a:cxn ang="0">
                    <a:pos x="336" y="2058"/>
                  </a:cxn>
                  <a:cxn ang="0">
                    <a:pos x="192" y="2076"/>
                  </a:cxn>
                  <a:cxn ang="0">
                    <a:pos x="0" y="2070"/>
                  </a:cxn>
                  <a:cxn ang="0">
                    <a:pos x="48" y="2106"/>
                  </a:cxn>
                  <a:cxn ang="0">
                    <a:pos x="246" y="2232"/>
                  </a:cxn>
                  <a:cxn ang="0">
                    <a:pos x="462" y="2316"/>
                  </a:cxn>
                  <a:cxn ang="0">
                    <a:pos x="684" y="2358"/>
                  </a:cxn>
                  <a:cxn ang="0">
                    <a:pos x="912" y="2370"/>
                  </a:cxn>
                  <a:cxn ang="0">
                    <a:pos x="1140" y="2346"/>
                  </a:cxn>
                  <a:cxn ang="0">
                    <a:pos x="1356" y="2286"/>
                  </a:cxn>
                  <a:cxn ang="0">
                    <a:pos x="1554" y="2196"/>
                  </a:cxn>
                  <a:cxn ang="0">
                    <a:pos x="1698" y="2112"/>
                  </a:cxn>
                  <a:cxn ang="0">
                    <a:pos x="1806" y="2022"/>
                  </a:cxn>
                  <a:cxn ang="0">
                    <a:pos x="1932" y="1896"/>
                  </a:cxn>
                  <a:cxn ang="0">
                    <a:pos x="2040" y="1752"/>
                  </a:cxn>
                  <a:cxn ang="0">
                    <a:pos x="2124" y="1602"/>
                  </a:cxn>
                  <a:cxn ang="0">
                    <a:pos x="2190" y="1452"/>
                  </a:cxn>
                  <a:cxn ang="0">
                    <a:pos x="2238" y="1302"/>
                  </a:cxn>
                  <a:cxn ang="0">
                    <a:pos x="2268" y="1158"/>
                  </a:cxn>
                  <a:cxn ang="0">
                    <a:pos x="2280" y="990"/>
                  </a:cxn>
                  <a:cxn ang="0">
                    <a:pos x="1782" y="0"/>
                  </a:cxn>
                </a:cxnLst>
                <a:rect l="0" t="0" r="r" b="b"/>
                <a:pathLst>
                  <a:path w="2652" h="2370">
                    <a:moveTo>
                      <a:pt x="912" y="990"/>
                    </a:moveTo>
                    <a:lnTo>
                      <a:pt x="1284" y="990"/>
                    </a:lnTo>
                    <a:lnTo>
                      <a:pt x="1284" y="990"/>
                    </a:lnTo>
                    <a:lnTo>
                      <a:pt x="1284" y="1014"/>
                    </a:lnTo>
                    <a:lnTo>
                      <a:pt x="1284" y="1050"/>
                    </a:lnTo>
                    <a:lnTo>
                      <a:pt x="1278" y="1092"/>
                    </a:lnTo>
                    <a:lnTo>
                      <a:pt x="1278" y="1128"/>
                    </a:lnTo>
                    <a:lnTo>
                      <a:pt x="1272" y="1170"/>
                    </a:lnTo>
                    <a:lnTo>
                      <a:pt x="1266" y="1206"/>
                    </a:lnTo>
                    <a:lnTo>
                      <a:pt x="1254" y="1248"/>
                    </a:lnTo>
                    <a:lnTo>
                      <a:pt x="1242" y="1290"/>
                    </a:lnTo>
                    <a:lnTo>
                      <a:pt x="1230" y="1332"/>
                    </a:lnTo>
                    <a:lnTo>
                      <a:pt x="1212" y="1368"/>
                    </a:lnTo>
                    <a:lnTo>
                      <a:pt x="1194" y="1410"/>
                    </a:lnTo>
                    <a:lnTo>
                      <a:pt x="1170" y="1458"/>
                    </a:lnTo>
                    <a:lnTo>
                      <a:pt x="1146" y="1500"/>
                    </a:lnTo>
                    <a:lnTo>
                      <a:pt x="1122" y="1542"/>
                    </a:lnTo>
                    <a:lnTo>
                      <a:pt x="1086" y="1590"/>
                    </a:lnTo>
                    <a:lnTo>
                      <a:pt x="1032" y="1656"/>
                    </a:lnTo>
                    <a:lnTo>
                      <a:pt x="1032" y="1656"/>
                    </a:lnTo>
                    <a:lnTo>
                      <a:pt x="1014" y="1680"/>
                    </a:lnTo>
                    <a:lnTo>
                      <a:pt x="966" y="1734"/>
                    </a:lnTo>
                    <a:lnTo>
                      <a:pt x="912" y="1782"/>
                    </a:lnTo>
                    <a:lnTo>
                      <a:pt x="858" y="1824"/>
                    </a:lnTo>
                    <a:lnTo>
                      <a:pt x="804" y="1866"/>
                    </a:lnTo>
                    <a:lnTo>
                      <a:pt x="744" y="1908"/>
                    </a:lnTo>
                    <a:lnTo>
                      <a:pt x="678" y="1938"/>
                    </a:lnTo>
                    <a:lnTo>
                      <a:pt x="618" y="1974"/>
                    </a:lnTo>
                    <a:lnTo>
                      <a:pt x="546" y="1998"/>
                    </a:lnTo>
                    <a:lnTo>
                      <a:pt x="480" y="2022"/>
                    </a:lnTo>
                    <a:lnTo>
                      <a:pt x="408" y="2040"/>
                    </a:lnTo>
                    <a:lnTo>
                      <a:pt x="336" y="2058"/>
                    </a:lnTo>
                    <a:lnTo>
                      <a:pt x="264" y="2070"/>
                    </a:lnTo>
                    <a:lnTo>
                      <a:pt x="192" y="2076"/>
                    </a:lnTo>
                    <a:lnTo>
                      <a:pt x="114" y="2076"/>
                    </a:lnTo>
                    <a:lnTo>
                      <a:pt x="0" y="2070"/>
                    </a:lnTo>
                    <a:lnTo>
                      <a:pt x="0" y="2070"/>
                    </a:lnTo>
                    <a:lnTo>
                      <a:pt x="48" y="2106"/>
                    </a:lnTo>
                    <a:lnTo>
                      <a:pt x="144" y="2178"/>
                    </a:lnTo>
                    <a:lnTo>
                      <a:pt x="246" y="2232"/>
                    </a:lnTo>
                    <a:lnTo>
                      <a:pt x="354" y="2280"/>
                    </a:lnTo>
                    <a:lnTo>
                      <a:pt x="462" y="2316"/>
                    </a:lnTo>
                    <a:lnTo>
                      <a:pt x="570" y="2346"/>
                    </a:lnTo>
                    <a:lnTo>
                      <a:pt x="684" y="2358"/>
                    </a:lnTo>
                    <a:lnTo>
                      <a:pt x="798" y="2370"/>
                    </a:lnTo>
                    <a:lnTo>
                      <a:pt x="912" y="2370"/>
                    </a:lnTo>
                    <a:lnTo>
                      <a:pt x="1026" y="2364"/>
                    </a:lnTo>
                    <a:lnTo>
                      <a:pt x="1140" y="2346"/>
                    </a:lnTo>
                    <a:lnTo>
                      <a:pt x="1248" y="2322"/>
                    </a:lnTo>
                    <a:lnTo>
                      <a:pt x="1356" y="2286"/>
                    </a:lnTo>
                    <a:lnTo>
                      <a:pt x="1458" y="2244"/>
                    </a:lnTo>
                    <a:lnTo>
                      <a:pt x="1554" y="2196"/>
                    </a:lnTo>
                    <a:lnTo>
                      <a:pt x="1698" y="2112"/>
                    </a:lnTo>
                    <a:lnTo>
                      <a:pt x="1698" y="2112"/>
                    </a:lnTo>
                    <a:lnTo>
                      <a:pt x="1734" y="2082"/>
                    </a:lnTo>
                    <a:lnTo>
                      <a:pt x="1806" y="2022"/>
                    </a:lnTo>
                    <a:lnTo>
                      <a:pt x="1872" y="1962"/>
                    </a:lnTo>
                    <a:lnTo>
                      <a:pt x="1932" y="1896"/>
                    </a:lnTo>
                    <a:lnTo>
                      <a:pt x="1992" y="1824"/>
                    </a:lnTo>
                    <a:lnTo>
                      <a:pt x="2040" y="1752"/>
                    </a:lnTo>
                    <a:lnTo>
                      <a:pt x="2088" y="1680"/>
                    </a:lnTo>
                    <a:lnTo>
                      <a:pt x="2124" y="1602"/>
                    </a:lnTo>
                    <a:lnTo>
                      <a:pt x="2160" y="1530"/>
                    </a:lnTo>
                    <a:lnTo>
                      <a:pt x="2190" y="1452"/>
                    </a:lnTo>
                    <a:lnTo>
                      <a:pt x="2214" y="1380"/>
                    </a:lnTo>
                    <a:lnTo>
                      <a:pt x="2238" y="1302"/>
                    </a:lnTo>
                    <a:lnTo>
                      <a:pt x="2256" y="1230"/>
                    </a:lnTo>
                    <a:lnTo>
                      <a:pt x="2268" y="1158"/>
                    </a:lnTo>
                    <a:lnTo>
                      <a:pt x="2274" y="1092"/>
                    </a:lnTo>
                    <a:lnTo>
                      <a:pt x="2280" y="990"/>
                    </a:lnTo>
                    <a:lnTo>
                      <a:pt x="2652" y="990"/>
                    </a:lnTo>
                    <a:lnTo>
                      <a:pt x="1782" y="0"/>
                    </a:lnTo>
                    <a:lnTo>
                      <a:pt x="912" y="990"/>
                    </a:lnTo>
                    <a:close/>
                  </a:path>
                </a:pathLst>
              </a:custGeom>
              <a:solidFill>
                <a:srgbClr val="00649D"/>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sp>
            <p:nvSpPr>
              <p:cNvPr id="98" name="Freeform 7"/>
              <p:cNvSpPr>
                <a:spLocks/>
              </p:cNvSpPr>
              <p:nvPr/>
            </p:nvSpPr>
            <p:spPr bwMode="auto">
              <a:xfrm>
                <a:off x="4233585" y="4066338"/>
                <a:ext cx="516539" cy="461613"/>
              </a:xfrm>
              <a:custGeom>
                <a:avLst/>
                <a:gdLst/>
                <a:ahLst/>
                <a:cxnLst>
                  <a:cxn ang="0">
                    <a:pos x="1368" y="1380"/>
                  </a:cxn>
                  <a:cxn ang="0">
                    <a:pos x="1368" y="1356"/>
                  </a:cxn>
                  <a:cxn ang="0">
                    <a:pos x="1368" y="1278"/>
                  </a:cxn>
                  <a:cxn ang="0">
                    <a:pos x="1380" y="1200"/>
                  </a:cxn>
                  <a:cxn ang="0">
                    <a:pos x="1392" y="1122"/>
                  </a:cxn>
                  <a:cxn ang="0">
                    <a:pos x="1422" y="1038"/>
                  </a:cxn>
                  <a:cxn ang="0">
                    <a:pos x="1458" y="960"/>
                  </a:cxn>
                  <a:cxn ang="0">
                    <a:pos x="1500" y="870"/>
                  </a:cxn>
                  <a:cxn ang="0">
                    <a:pos x="1560" y="780"/>
                  </a:cxn>
                  <a:cxn ang="0">
                    <a:pos x="1614" y="714"/>
                  </a:cxn>
                  <a:cxn ang="0">
                    <a:pos x="1686" y="636"/>
                  </a:cxn>
                  <a:cxn ang="0">
                    <a:pos x="1794" y="546"/>
                  </a:cxn>
                  <a:cxn ang="0">
                    <a:pos x="1908" y="462"/>
                  </a:cxn>
                  <a:cxn ang="0">
                    <a:pos x="2034" y="396"/>
                  </a:cxn>
                  <a:cxn ang="0">
                    <a:pos x="2172" y="348"/>
                  </a:cxn>
                  <a:cxn ang="0">
                    <a:pos x="2310" y="312"/>
                  </a:cxn>
                  <a:cxn ang="0">
                    <a:pos x="2460" y="294"/>
                  </a:cxn>
                  <a:cxn ang="0">
                    <a:pos x="2652" y="300"/>
                  </a:cxn>
                  <a:cxn ang="0">
                    <a:pos x="2604" y="264"/>
                  </a:cxn>
                  <a:cxn ang="0">
                    <a:pos x="2406" y="138"/>
                  </a:cxn>
                  <a:cxn ang="0">
                    <a:pos x="2190" y="54"/>
                  </a:cxn>
                  <a:cxn ang="0">
                    <a:pos x="1962" y="12"/>
                  </a:cxn>
                  <a:cxn ang="0">
                    <a:pos x="1740" y="0"/>
                  </a:cxn>
                  <a:cxn ang="0">
                    <a:pos x="1512" y="24"/>
                  </a:cxn>
                  <a:cxn ang="0">
                    <a:pos x="1296" y="84"/>
                  </a:cxn>
                  <a:cxn ang="0">
                    <a:pos x="1092" y="174"/>
                  </a:cxn>
                  <a:cxn ang="0">
                    <a:pos x="954" y="258"/>
                  </a:cxn>
                  <a:cxn ang="0">
                    <a:pos x="840" y="348"/>
                  </a:cxn>
                  <a:cxn ang="0">
                    <a:pos x="714" y="474"/>
                  </a:cxn>
                  <a:cxn ang="0">
                    <a:pos x="612" y="618"/>
                  </a:cxn>
                  <a:cxn ang="0">
                    <a:pos x="522" y="768"/>
                  </a:cxn>
                  <a:cxn ang="0">
                    <a:pos x="462" y="918"/>
                  </a:cxn>
                  <a:cxn ang="0">
                    <a:pos x="414" y="1068"/>
                  </a:cxn>
                  <a:cxn ang="0">
                    <a:pos x="384" y="1212"/>
                  </a:cxn>
                  <a:cxn ang="0">
                    <a:pos x="372" y="1380"/>
                  </a:cxn>
                  <a:cxn ang="0">
                    <a:pos x="870" y="2370"/>
                  </a:cxn>
                </a:cxnLst>
                <a:rect l="0" t="0" r="r" b="b"/>
                <a:pathLst>
                  <a:path w="2652" h="2370">
                    <a:moveTo>
                      <a:pt x="1740" y="1380"/>
                    </a:moveTo>
                    <a:lnTo>
                      <a:pt x="1368" y="1380"/>
                    </a:lnTo>
                    <a:lnTo>
                      <a:pt x="1368" y="1380"/>
                    </a:lnTo>
                    <a:lnTo>
                      <a:pt x="1368" y="1356"/>
                    </a:lnTo>
                    <a:lnTo>
                      <a:pt x="1368" y="1320"/>
                    </a:lnTo>
                    <a:lnTo>
                      <a:pt x="1368" y="1278"/>
                    </a:lnTo>
                    <a:lnTo>
                      <a:pt x="1374" y="1242"/>
                    </a:lnTo>
                    <a:lnTo>
                      <a:pt x="1380" y="1200"/>
                    </a:lnTo>
                    <a:lnTo>
                      <a:pt x="1386" y="1164"/>
                    </a:lnTo>
                    <a:lnTo>
                      <a:pt x="1392" y="1122"/>
                    </a:lnTo>
                    <a:lnTo>
                      <a:pt x="1404" y="1080"/>
                    </a:lnTo>
                    <a:lnTo>
                      <a:pt x="1422" y="1038"/>
                    </a:lnTo>
                    <a:lnTo>
                      <a:pt x="1434" y="1002"/>
                    </a:lnTo>
                    <a:lnTo>
                      <a:pt x="1458" y="960"/>
                    </a:lnTo>
                    <a:lnTo>
                      <a:pt x="1476" y="912"/>
                    </a:lnTo>
                    <a:lnTo>
                      <a:pt x="1500" y="870"/>
                    </a:lnTo>
                    <a:lnTo>
                      <a:pt x="1530" y="828"/>
                    </a:lnTo>
                    <a:lnTo>
                      <a:pt x="1560" y="780"/>
                    </a:lnTo>
                    <a:lnTo>
                      <a:pt x="1614" y="714"/>
                    </a:lnTo>
                    <a:lnTo>
                      <a:pt x="1614" y="714"/>
                    </a:lnTo>
                    <a:lnTo>
                      <a:pt x="1638" y="690"/>
                    </a:lnTo>
                    <a:lnTo>
                      <a:pt x="1686" y="636"/>
                    </a:lnTo>
                    <a:lnTo>
                      <a:pt x="1740" y="588"/>
                    </a:lnTo>
                    <a:lnTo>
                      <a:pt x="1794" y="546"/>
                    </a:lnTo>
                    <a:lnTo>
                      <a:pt x="1848" y="504"/>
                    </a:lnTo>
                    <a:lnTo>
                      <a:pt x="1908" y="462"/>
                    </a:lnTo>
                    <a:lnTo>
                      <a:pt x="1968" y="432"/>
                    </a:lnTo>
                    <a:lnTo>
                      <a:pt x="2034" y="396"/>
                    </a:lnTo>
                    <a:lnTo>
                      <a:pt x="2100" y="372"/>
                    </a:lnTo>
                    <a:lnTo>
                      <a:pt x="2172" y="348"/>
                    </a:lnTo>
                    <a:lnTo>
                      <a:pt x="2238" y="330"/>
                    </a:lnTo>
                    <a:lnTo>
                      <a:pt x="2310" y="312"/>
                    </a:lnTo>
                    <a:lnTo>
                      <a:pt x="2382" y="300"/>
                    </a:lnTo>
                    <a:lnTo>
                      <a:pt x="2460" y="294"/>
                    </a:lnTo>
                    <a:lnTo>
                      <a:pt x="2538" y="294"/>
                    </a:lnTo>
                    <a:lnTo>
                      <a:pt x="2652" y="300"/>
                    </a:lnTo>
                    <a:lnTo>
                      <a:pt x="2652" y="300"/>
                    </a:lnTo>
                    <a:lnTo>
                      <a:pt x="2604" y="264"/>
                    </a:lnTo>
                    <a:lnTo>
                      <a:pt x="2508" y="192"/>
                    </a:lnTo>
                    <a:lnTo>
                      <a:pt x="2406" y="138"/>
                    </a:lnTo>
                    <a:lnTo>
                      <a:pt x="2298" y="90"/>
                    </a:lnTo>
                    <a:lnTo>
                      <a:pt x="2190" y="54"/>
                    </a:lnTo>
                    <a:lnTo>
                      <a:pt x="2076" y="24"/>
                    </a:lnTo>
                    <a:lnTo>
                      <a:pt x="1962" y="12"/>
                    </a:lnTo>
                    <a:lnTo>
                      <a:pt x="1854" y="0"/>
                    </a:lnTo>
                    <a:lnTo>
                      <a:pt x="1740" y="0"/>
                    </a:lnTo>
                    <a:lnTo>
                      <a:pt x="1626" y="6"/>
                    </a:lnTo>
                    <a:lnTo>
                      <a:pt x="1512" y="24"/>
                    </a:lnTo>
                    <a:lnTo>
                      <a:pt x="1404" y="48"/>
                    </a:lnTo>
                    <a:lnTo>
                      <a:pt x="1296" y="84"/>
                    </a:lnTo>
                    <a:lnTo>
                      <a:pt x="1194" y="126"/>
                    </a:lnTo>
                    <a:lnTo>
                      <a:pt x="1092" y="174"/>
                    </a:lnTo>
                    <a:lnTo>
                      <a:pt x="954" y="258"/>
                    </a:lnTo>
                    <a:lnTo>
                      <a:pt x="954" y="258"/>
                    </a:lnTo>
                    <a:lnTo>
                      <a:pt x="912" y="288"/>
                    </a:lnTo>
                    <a:lnTo>
                      <a:pt x="840" y="348"/>
                    </a:lnTo>
                    <a:lnTo>
                      <a:pt x="774" y="408"/>
                    </a:lnTo>
                    <a:lnTo>
                      <a:pt x="714" y="474"/>
                    </a:lnTo>
                    <a:lnTo>
                      <a:pt x="660" y="546"/>
                    </a:lnTo>
                    <a:lnTo>
                      <a:pt x="612" y="618"/>
                    </a:lnTo>
                    <a:lnTo>
                      <a:pt x="564" y="690"/>
                    </a:lnTo>
                    <a:lnTo>
                      <a:pt x="522" y="768"/>
                    </a:lnTo>
                    <a:lnTo>
                      <a:pt x="492" y="840"/>
                    </a:lnTo>
                    <a:lnTo>
                      <a:pt x="462" y="918"/>
                    </a:lnTo>
                    <a:lnTo>
                      <a:pt x="432" y="990"/>
                    </a:lnTo>
                    <a:lnTo>
                      <a:pt x="414" y="1068"/>
                    </a:lnTo>
                    <a:lnTo>
                      <a:pt x="396" y="1140"/>
                    </a:lnTo>
                    <a:lnTo>
                      <a:pt x="384" y="1212"/>
                    </a:lnTo>
                    <a:lnTo>
                      <a:pt x="378" y="1278"/>
                    </a:lnTo>
                    <a:lnTo>
                      <a:pt x="372" y="1380"/>
                    </a:lnTo>
                    <a:lnTo>
                      <a:pt x="0" y="1380"/>
                    </a:lnTo>
                    <a:lnTo>
                      <a:pt x="870" y="2370"/>
                    </a:lnTo>
                    <a:lnTo>
                      <a:pt x="1740" y="1380"/>
                    </a:lnTo>
                    <a:close/>
                  </a:path>
                </a:pathLst>
              </a:custGeom>
              <a:solidFill>
                <a:srgbClr val="17AF4B"/>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grpSp>
        <p:grpSp>
          <p:nvGrpSpPr>
            <p:cNvPr id="51" name="Group 108"/>
            <p:cNvGrpSpPr/>
            <p:nvPr/>
          </p:nvGrpSpPr>
          <p:grpSpPr>
            <a:xfrm>
              <a:off x="6274141" y="3356018"/>
              <a:ext cx="702352" cy="544586"/>
              <a:chOff x="6274141" y="4066338"/>
              <a:chExt cx="702352" cy="544586"/>
            </a:xfrm>
            <a:effectLst>
              <a:outerShdw blurRad="63500" sx="102000" sy="102000" algn="ctr" rotWithShape="0">
                <a:prstClr val="black">
                  <a:alpha val="40000"/>
                </a:prstClr>
              </a:outerShdw>
            </a:effectLst>
          </p:grpSpPr>
          <p:sp>
            <p:nvSpPr>
              <p:cNvPr id="81" name="Freeform 6"/>
              <p:cNvSpPr>
                <a:spLocks/>
              </p:cNvSpPr>
              <p:nvPr/>
            </p:nvSpPr>
            <p:spPr bwMode="auto">
              <a:xfrm>
                <a:off x="6459954" y="4149311"/>
                <a:ext cx="516539" cy="461613"/>
              </a:xfrm>
              <a:custGeom>
                <a:avLst/>
                <a:gdLst/>
                <a:ahLst/>
                <a:cxnLst>
                  <a:cxn ang="0">
                    <a:pos x="1284" y="990"/>
                  </a:cxn>
                  <a:cxn ang="0">
                    <a:pos x="1284" y="1014"/>
                  </a:cxn>
                  <a:cxn ang="0">
                    <a:pos x="1278" y="1092"/>
                  </a:cxn>
                  <a:cxn ang="0">
                    <a:pos x="1272" y="1170"/>
                  </a:cxn>
                  <a:cxn ang="0">
                    <a:pos x="1254" y="1248"/>
                  </a:cxn>
                  <a:cxn ang="0">
                    <a:pos x="1230" y="1332"/>
                  </a:cxn>
                  <a:cxn ang="0">
                    <a:pos x="1194" y="1410"/>
                  </a:cxn>
                  <a:cxn ang="0">
                    <a:pos x="1146" y="1500"/>
                  </a:cxn>
                  <a:cxn ang="0">
                    <a:pos x="1086" y="1590"/>
                  </a:cxn>
                  <a:cxn ang="0">
                    <a:pos x="1032" y="1656"/>
                  </a:cxn>
                  <a:cxn ang="0">
                    <a:pos x="966" y="1734"/>
                  </a:cxn>
                  <a:cxn ang="0">
                    <a:pos x="858" y="1824"/>
                  </a:cxn>
                  <a:cxn ang="0">
                    <a:pos x="744" y="1908"/>
                  </a:cxn>
                  <a:cxn ang="0">
                    <a:pos x="618" y="1974"/>
                  </a:cxn>
                  <a:cxn ang="0">
                    <a:pos x="480" y="2022"/>
                  </a:cxn>
                  <a:cxn ang="0">
                    <a:pos x="336" y="2058"/>
                  </a:cxn>
                  <a:cxn ang="0">
                    <a:pos x="192" y="2076"/>
                  </a:cxn>
                  <a:cxn ang="0">
                    <a:pos x="0" y="2070"/>
                  </a:cxn>
                  <a:cxn ang="0">
                    <a:pos x="48" y="2106"/>
                  </a:cxn>
                  <a:cxn ang="0">
                    <a:pos x="246" y="2232"/>
                  </a:cxn>
                  <a:cxn ang="0">
                    <a:pos x="462" y="2316"/>
                  </a:cxn>
                  <a:cxn ang="0">
                    <a:pos x="684" y="2358"/>
                  </a:cxn>
                  <a:cxn ang="0">
                    <a:pos x="912" y="2370"/>
                  </a:cxn>
                  <a:cxn ang="0">
                    <a:pos x="1140" y="2346"/>
                  </a:cxn>
                  <a:cxn ang="0">
                    <a:pos x="1356" y="2286"/>
                  </a:cxn>
                  <a:cxn ang="0">
                    <a:pos x="1554" y="2196"/>
                  </a:cxn>
                  <a:cxn ang="0">
                    <a:pos x="1698" y="2112"/>
                  </a:cxn>
                  <a:cxn ang="0">
                    <a:pos x="1806" y="2022"/>
                  </a:cxn>
                  <a:cxn ang="0">
                    <a:pos x="1932" y="1896"/>
                  </a:cxn>
                  <a:cxn ang="0">
                    <a:pos x="2040" y="1752"/>
                  </a:cxn>
                  <a:cxn ang="0">
                    <a:pos x="2124" y="1602"/>
                  </a:cxn>
                  <a:cxn ang="0">
                    <a:pos x="2190" y="1452"/>
                  </a:cxn>
                  <a:cxn ang="0">
                    <a:pos x="2238" y="1302"/>
                  </a:cxn>
                  <a:cxn ang="0">
                    <a:pos x="2268" y="1158"/>
                  </a:cxn>
                  <a:cxn ang="0">
                    <a:pos x="2280" y="990"/>
                  </a:cxn>
                  <a:cxn ang="0">
                    <a:pos x="1782" y="0"/>
                  </a:cxn>
                </a:cxnLst>
                <a:rect l="0" t="0" r="r" b="b"/>
                <a:pathLst>
                  <a:path w="2652" h="2370">
                    <a:moveTo>
                      <a:pt x="912" y="990"/>
                    </a:moveTo>
                    <a:lnTo>
                      <a:pt x="1284" y="990"/>
                    </a:lnTo>
                    <a:lnTo>
                      <a:pt x="1284" y="990"/>
                    </a:lnTo>
                    <a:lnTo>
                      <a:pt x="1284" y="1014"/>
                    </a:lnTo>
                    <a:lnTo>
                      <a:pt x="1284" y="1050"/>
                    </a:lnTo>
                    <a:lnTo>
                      <a:pt x="1278" y="1092"/>
                    </a:lnTo>
                    <a:lnTo>
                      <a:pt x="1278" y="1128"/>
                    </a:lnTo>
                    <a:lnTo>
                      <a:pt x="1272" y="1170"/>
                    </a:lnTo>
                    <a:lnTo>
                      <a:pt x="1266" y="1206"/>
                    </a:lnTo>
                    <a:lnTo>
                      <a:pt x="1254" y="1248"/>
                    </a:lnTo>
                    <a:lnTo>
                      <a:pt x="1242" y="1290"/>
                    </a:lnTo>
                    <a:lnTo>
                      <a:pt x="1230" y="1332"/>
                    </a:lnTo>
                    <a:lnTo>
                      <a:pt x="1212" y="1368"/>
                    </a:lnTo>
                    <a:lnTo>
                      <a:pt x="1194" y="1410"/>
                    </a:lnTo>
                    <a:lnTo>
                      <a:pt x="1170" y="1458"/>
                    </a:lnTo>
                    <a:lnTo>
                      <a:pt x="1146" y="1500"/>
                    </a:lnTo>
                    <a:lnTo>
                      <a:pt x="1122" y="1542"/>
                    </a:lnTo>
                    <a:lnTo>
                      <a:pt x="1086" y="1590"/>
                    </a:lnTo>
                    <a:lnTo>
                      <a:pt x="1032" y="1656"/>
                    </a:lnTo>
                    <a:lnTo>
                      <a:pt x="1032" y="1656"/>
                    </a:lnTo>
                    <a:lnTo>
                      <a:pt x="1014" y="1680"/>
                    </a:lnTo>
                    <a:lnTo>
                      <a:pt x="966" y="1734"/>
                    </a:lnTo>
                    <a:lnTo>
                      <a:pt x="912" y="1782"/>
                    </a:lnTo>
                    <a:lnTo>
                      <a:pt x="858" y="1824"/>
                    </a:lnTo>
                    <a:lnTo>
                      <a:pt x="804" y="1866"/>
                    </a:lnTo>
                    <a:lnTo>
                      <a:pt x="744" y="1908"/>
                    </a:lnTo>
                    <a:lnTo>
                      <a:pt x="678" y="1938"/>
                    </a:lnTo>
                    <a:lnTo>
                      <a:pt x="618" y="1974"/>
                    </a:lnTo>
                    <a:lnTo>
                      <a:pt x="546" y="1998"/>
                    </a:lnTo>
                    <a:lnTo>
                      <a:pt x="480" y="2022"/>
                    </a:lnTo>
                    <a:lnTo>
                      <a:pt x="408" y="2040"/>
                    </a:lnTo>
                    <a:lnTo>
                      <a:pt x="336" y="2058"/>
                    </a:lnTo>
                    <a:lnTo>
                      <a:pt x="264" y="2070"/>
                    </a:lnTo>
                    <a:lnTo>
                      <a:pt x="192" y="2076"/>
                    </a:lnTo>
                    <a:lnTo>
                      <a:pt x="114" y="2076"/>
                    </a:lnTo>
                    <a:lnTo>
                      <a:pt x="0" y="2070"/>
                    </a:lnTo>
                    <a:lnTo>
                      <a:pt x="0" y="2070"/>
                    </a:lnTo>
                    <a:lnTo>
                      <a:pt x="48" y="2106"/>
                    </a:lnTo>
                    <a:lnTo>
                      <a:pt x="144" y="2178"/>
                    </a:lnTo>
                    <a:lnTo>
                      <a:pt x="246" y="2232"/>
                    </a:lnTo>
                    <a:lnTo>
                      <a:pt x="354" y="2280"/>
                    </a:lnTo>
                    <a:lnTo>
                      <a:pt x="462" y="2316"/>
                    </a:lnTo>
                    <a:lnTo>
                      <a:pt x="570" y="2346"/>
                    </a:lnTo>
                    <a:lnTo>
                      <a:pt x="684" y="2358"/>
                    </a:lnTo>
                    <a:lnTo>
                      <a:pt x="798" y="2370"/>
                    </a:lnTo>
                    <a:lnTo>
                      <a:pt x="912" y="2370"/>
                    </a:lnTo>
                    <a:lnTo>
                      <a:pt x="1026" y="2364"/>
                    </a:lnTo>
                    <a:lnTo>
                      <a:pt x="1140" y="2346"/>
                    </a:lnTo>
                    <a:lnTo>
                      <a:pt x="1248" y="2322"/>
                    </a:lnTo>
                    <a:lnTo>
                      <a:pt x="1356" y="2286"/>
                    </a:lnTo>
                    <a:lnTo>
                      <a:pt x="1458" y="2244"/>
                    </a:lnTo>
                    <a:lnTo>
                      <a:pt x="1554" y="2196"/>
                    </a:lnTo>
                    <a:lnTo>
                      <a:pt x="1698" y="2112"/>
                    </a:lnTo>
                    <a:lnTo>
                      <a:pt x="1698" y="2112"/>
                    </a:lnTo>
                    <a:lnTo>
                      <a:pt x="1734" y="2082"/>
                    </a:lnTo>
                    <a:lnTo>
                      <a:pt x="1806" y="2022"/>
                    </a:lnTo>
                    <a:lnTo>
                      <a:pt x="1872" y="1962"/>
                    </a:lnTo>
                    <a:lnTo>
                      <a:pt x="1932" y="1896"/>
                    </a:lnTo>
                    <a:lnTo>
                      <a:pt x="1992" y="1824"/>
                    </a:lnTo>
                    <a:lnTo>
                      <a:pt x="2040" y="1752"/>
                    </a:lnTo>
                    <a:lnTo>
                      <a:pt x="2088" y="1680"/>
                    </a:lnTo>
                    <a:lnTo>
                      <a:pt x="2124" y="1602"/>
                    </a:lnTo>
                    <a:lnTo>
                      <a:pt x="2160" y="1530"/>
                    </a:lnTo>
                    <a:lnTo>
                      <a:pt x="2190" y="1452"/>
                    </a:lnTo>
                    <a:lnTo>
                      <a:pt x="2214" y="1380"/>
                    </a:lnTo>
                    <a:lnTo>
                      <a:pt x="2238" y="1302"/>
                    </a:lnTo>
                    <a:lnTo>
                      <a:pt x="2256" y="1230"/>
                    </a:lnTo>
                    <a:lnTo>
                      <a:pt x="2268" y="1158"/>
                    </a:lnTo>
                    <a:lnTo>
                      <a:pt x="2274" y="1092"/>
                    </a:lnTo>
                    <a:lnTo>
                      <a:pt x="2280" y="990"/>
                    </a:lnTo>
                    <a:lnTo>
                      <a:pt x="2652" y="990"/>
                    </a:lnTo>
                    <a:lnTo>
                      <a:pt x="1782" y="0"/>
                    </a:lnTo>
                    <a:lnTo>
                      <a:pt x="912" y="990"/>
                    </a:lnTo>
                    <a:close/>
                  </a:path>
                </a:pathLst>
              </a:custGeom>
              <a:solidFill>
                <a:srgbClr val="00649D"/>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sp>
            <p:nvSpPr>
              <p:cNvPr id="82" name="Freeform 7"/>
              <p:cNvSpPr>
                <a:spLocks/>
              </p:cNvSpPr>
              <p:nvPr/>
            </p:nvSpPr>
            <p:spPr bwMode="auto">
              <a:xfrm>
                <a:off x="6274141" y="4066338"/>
                <a:ext cx="516539" cy="461613"/>
              </a:xfrm>
              <a:custGeom>
                <a:avLst/>
                <a:gdLst/>
                <a:ahLst/>
                <a:cxnLst>
                  <a:cxn ang="0">
                    <a:pos x="1368" y="1380"/>
                  </a:cxn>
                  <a:cxn ang="0">
                    <a:pos x="1368" y="1356"/>
                  </a:cxn>
                  <a:cxn ang="0">
                    <a:pos x="1368" y="1278"/>
                  </a:cxn>
                  <a:cxn ang="0">
                    <a:pos x="1380" y="1200"/>
                  </a:cxn>
                  <a:cxn ang="0">
                    <a:pos x="1392" y="1122"/>
                  </a:cxn>
                  <a:cxn ang="0">
                    <a:pos x="1422" y="1038"/>
                  </a:cxn>
                  <a:cxn ang="0">
                    <a:pos x="1458" y="960"/>
                  </a:cxn>
                  <a:cxn ang="0">
                    <a:pos x="1500" y="870"/>
                  </a:cxn>
                  <a:cxn ang="0">
                    <a:pos x="1560" y="780"/>
                  </a:cxn>
                  <a:cxn ang="0">
                    <a:pos x="1614" y="714"/>
                  </a:cxn>
                  <a:cxn ang="0">
                    <a:pos x="1686" y="636"/>
                  </a:cxn>
                  <a:cxn ang="0">
                    <a:pos x="1794" y="546"/>
                  </a:cxn>
                  <a:cxn ang="0">
                    <a:pos x="1908" y="462"/>
                  </a:cxn>
                  <a:cxn ang="0">
                    <a:pos x="2034" y="396"/>
                  </a:cxn>
                  <a:cxn ang="0">
                    <a:pos x="2172" y="348"/>
                  </a:cxn>
                  <a:cxn ang="0">
                    <a:pos x="2310" y="312"/>
                  </a:cxn>
                  <a:cxn ang="0">
                    <a:pos x="2460" y="294"/>
                  </a:cxn>
                  <a:cxn ang="0">
                    <a:pos x="2652" y="300"/>
                  </a:cxn>
                  <a:cxn ang="0">
                    <a:pos x="2604" y="264"/>
                  </a:cxn>
                  <a:cxn ang="0">
                    <a:pos x="2406" y="138"/>
                  </a:cxn>
                  <a:cxn ang="0">
                    <a:pos x="2190" y="54"/>
                  </a:cxn>
                  <a:cxn ang="0">
                    <a:pos x="1962" y="12"/>
                  </a:cxn>
                  <a:cxn ang="0">
                    <a:pos x="1740" y="0"/>
                  </a:cxn>
                  <a:cxn ang="0">
                    <a:pos x="1512" y="24"/>
                  </a:cxn>
                  <a:cxn ang="0">
                    <a:pos x="1296" y="84"/>
                  </a:cxn>
                  <a:cxn ang="0">
                    <a:pos x="1092" y="174"/>
                  </a:cxn>
                  <a:cxn ang="0">
                    <a:pos x="954" y="258"/>
                  </a:cxn>
                  <a:cxn ang="0">
                    <a:pos x="840" y="348"/>
                  </a:cxn>
                  <a:cxn ang="0">
                    <a:pos x="714" y="474"/>
                  </a:cxn>
                  <a:cxn ang="0">
                    <a:pos x="612" y="618"/>
                  </a:cxn>
                  <a:cxn ang="0">
                    <a:pos x="522" y="768"/>
                  </a:cxn>
                  <a:cxn ang="0">
                    <a:pos x="462" y="918"/>
                  </a:cxn>
                  <a:cxn ang="0">
                    <a:pos x="414" y="1068"/>
                  </a:cxn>
                  <a:cxn ang="0">
                    <a:pos x="384" y="1212"/>
                  </a:cxn>
                  <a:cxn ang="0">
                    <a:pos x="372" y="1380"/>
                  </a:cxn>
                  <a:cxn ang="0">
                    <a:pos x="870" y="2370"/>
                  </a:cxn>
                </a:cxnLst>
                <a:rect l="0" t="0" r="r" b="b"/>
                <a:pathLst>
                  <a:path w="2652" h="2370">
                    <a:moveTo>
                      <a:pt x="1740" y="1380"/>
                    </a:moveTo>
                    <a:lnTo>
                      <a:pt x="1368" y="1380"/>
                    </a:lnTo>
                    <a:lnTo>
                      <a:pt x="1368" y="1380"/>
                    </a:lnTo>
                    <a:lnTo>
                      <a:pt x="1368" y="1356"/>
                    </a:lnTo>
                    <a:lnTo>
                      <a:pt x="1368" y="1320"/>
                    </a:lnTo>
                    <a:lnTo>
                      <a:pt x="1368" y="1278"/>
                    </a:lnTo>
                    <a:lnTo>
                      <a:pt x="1374" y="1242"/>
                    </a:lnTo>
                    <a:lnTo>
                      <a:pt x="1380" y="1200"/>
                    </a:lnTo>
                    <a:lnTo>
                      <a:pt x="1386" y="1164"/>
                    </a:lnTo>
                    <a:lnTo>
                      <a:pt x="1392" y="1122"/>
                    </a:lnTo>
                    <a:lnTo>
                      <a:pt x="1404" y="1080"/>
                    </a:lnTo>
                    <a:lnTo>
                      <a:pt x="1422" y="1038"/>
                    </a:lnTo>
                    <a:lnTo>
                      <a:pt x="1434" y="1002"/>
                    </a:lnTo>
                    <a:lnTo>
                      <a:pt x="1458" y="960"/>
                    </a:lnTo>
                    <a:lnTo>
                      <a:pt x="1476" y="912"/>
                    </a:lnTo>
                    <a:lnTo>
                      <a:pt x="1500" y="870"/>
                    </a:lnTo>
                    <a:lnTo>
                      <a:pt x="1530" y="828"/>
                    </a:lnTo>
                    <a:lnTo>
                      <a:pt x="1560" y="780"/>
                    </a:lnTo>
                    <a:lnTo>
                      <a:pt x="1614" y="714"/>
                    </a:lnTo>
                    <a:lnTo>
                      <a:pt x="1614" y="714"/>
                    </a:lnTo>
                    <a:lnTo>
                      <a:pt x="1638" y="690"/>
                    </a:lnTo>
                    <a:lnTo>
                      <a:pt x="1686" y="636"/>
                    </a:lnTo>
                    <a:lnTo>
                      <a:pt x="1740" y="588"/>
                    </a:lnTo>
                    <a:lnTo>
                      <a:pt x="1794" y="546"/>
                    </a:lnTo>
                    <a:lnTo>
                      <a:pt x="1848" y="504"/>
                    </a:lnTo>
                    <a:lnTo>
                      <a:pt x="1908" y="462"/>
                    </a:lnTo>
                    <a:lnTo>
                      <a:pt x="1968" y="432"/>
                    </a:lnTo>
                    <a:lnTo>
                      <a:pt x="2034" y="396"/>
                    </a:lnTo>
                    <a:lnTo>
                      <a:pt x="2100" y="372"/>
                    </a:lnTo>
                    <a:lnTo>
                      <a:pt x="2172" y="348"/>
                    </a:lnTo>
                    <a:lnTo>
                      <a:pt x="2238" y="330"/>
                    </a:lnTo>
                    <a:lnTo>
                      <a:pt x="2310" y="312"/>
                    </a:lnTo>
                    <a:lnTo>
                      <a:pt x="2382" y="300"/>
                    </a:lnTo>
                    <a:lnTo>
                      <a:pt x="2460" y="294"/>
                    </a:lnTo>
                    <a:lnTo>
                      <a:pt x="2538" y="294"/>
                    </a:lnTo>
                    <a:lnTo>
                      <a:pt x="2652" y="300"/>
                    </a:lnTo>
                    <a:lnTo>
                      <a:pt x="2652" y="300"/>
                    </a:lnTo>
                    <a:lnTo>
                      <a:pt x="2604" y="264"/>
                    </a:lnTo>
                    <a:lnTo>
                      <a:pt x="2508" y="192"/>
                    </a:lnTo>
                    <a:lnTo>
                      <a:pt x="2406" y="138"/>
                    </a:lnTo>
                    <a:lnTo>
                      <a:pt x="2298" y="90"/>
                    </a:lnTo>
                    <a:lnTo>
                      <a:pt x="2190" y="54"/>
                    </a:lnTo>
                    <a:lnTo>
                      <a:pt x="2076" y="24"/>
                    </a:lnTo>
                    <a:lnTo>
                      <a:pt x="1962" y="12"/>
                    </a:lnTo>
                    <a:lnTo>
                      <a:pt x="1854" y="0"/>
                    </a:lnTo>
                    <a:lnTo>
                      <a:pt x="1740" y="0"/>
                    </a:lnTo>
                    <a:lnTo>
                      <a:pt x="1626" y="6"/>
                    </a:lnTo>
                    <a:lnTo>
                      <a:pt x="1512" y="24"/>
                    </a:lnTo>
                    <a:lnTo>
                      <a:pt x="1404" y="48"/>
                    </a:lnTo>
                    <a:lnTo>
                      <a:pt x="1296" y="84"/>
                    </a:lnTo>
                    <a:lnTo>
                      <a:pt x="1194" y="126"/>
                    </a:lnTo>
                    <a:lnTo>
                      <a:pt x="1092" y="174"/>
                    </a:lnTo>
                    <a:lnTo>
                      <a:pt x="954" y="258"/>
                    </a:lnTo>
                    <a:lnTo>
                      <a:pt x="954" y="258"/>
                    </a:lnTo>
                    <a:lnTo>
                      <a:pt x="912" y="288"/>
                    </a:lnTo>
                    <a:lnTo>
                      <a:pt x="840" y="348"/>
                    </a:lnTo>
                    <a:lnTo>
                      <a:pt x="774" y="408"/>
                    </a:lnTo>
                    <a:lnTo>
                      <a:pt x="714" y="474"/>
                    </a:lnTo>
                    <a:lnTo>
                      <a:pt x="660" y="546"/>
                    </a:lnTo>
                    <a:lnTo>
                      <a:pt x="612" y="618"/>
                    </a:lnTo>
                    <a:lnTo>
                      <a:pt x="564" y="690"/>
                    </a:lnTo>
                    <a:lnTo>
                      <a:pt x="522" y="768"/>
                    </a:lnTo>
                    <a:lnTo>
                      <a:pt x="492" y="840"/>
                    </a:lnTo>
                    <a:lnTo>
                      <a:pt x="462" y="918"/>
                    </a:lnTo>
                    <a:lnTo>
                      <a:pt x="432" y="990"/>
                    </a:lnTo>
                    <a:lnTo>
                      <a:pt x="414" y="1068"/>
                    </a:lnTo>
                    <a:lnTo>
                      <a:pt x="396" y="1140"/>
                    </a:lnTo>
                    <a:lnTo>
                      <a:pt x="384" y="1212"/>
                    </a:lnTo>
                    <a:lnTo>
                      <a:pt x="378" y="1278"/>
                    </a:lnTo>
                    <a:lnTo>
                      <a:pt x="372" y="1380"/>
                    </a:lnTo>
                    <a:lnTo>
                      <a:pt x="0" y="1380"/>
                    </a:lnTo>
                    <a:lnTo>
                      <a:pt x="870" y="2370"/>
                    </a:lnTo>
                    <a:lnTo>
                      <a:pt x="1740" y="1380"/>
                    </a:lnTo>
                    <a:close/>
                  </a:path>
                </a:pathLst>
              </a:custGeom>
              <a:solidFill>
                <a:srgbClr val="17AF4B"/>
              </a:solidFill>
              <a:ln w="9525">
                <a:noFill/>
                <a:round/>
                <a:headEnd/>
                <a:tailEnd/>
              </a:ln>
              <a:effectLst/>
              <a:scene3d>
                <a:camera prst="orthographicFront">
                  <a:rot lat="0" lon="0" rev="0"/>
                </a:camera>
                <a:lightRig rig="contrasting" dir="t">
                  <a:rot lat="0" lon="0" rev="7800000"/>
                </a:lightRig>
              </a:scene3d>
              <a:sp3d>
                <a:bevelT w="139700" h="139700"/>
              </a:sp3d>
            </p:spPr>
            <p:txBody>
              <a:bodyPr/>
              <a:lstStyle/>
              <a:p>
                <a:pPr algn="ctr">
                  <a:buClr>
                    <a:srgbClr val="000000"/>
                  </a:buClr>
                  <a:buSzPct val="100000"/>
                  <a:buFont typeface="Arial" charset="0"/>
                  <a:buNone/>
                  <a:defRPr/>
                </a:pPr>
                <a:endParaRPr lang="en-US" sz="1800" dirty="0">
                  <a:latin typeface="Arial" pitchFamily="34" charset="0"/>
                  <a:ea typeface="ＭＳ Ｐゴシック" charset="0"/>
                </a:endParaRPr>
              </a:p>
            </p:txBody>
          </p:sp>
        </p:grpSp>
        <p:sp>
          <p:nvSpPr>
            <p:cNvPr id="52" name="Text Box 9_3"/>
            <p:cNvSpPr>
              <a:spLocks noChangeArrowheads="1"/>
            </p:cNvSpPr>
            <p:nvPr/>
          </p:nvSpPr>
          <p:spPr bwMode="auto">
            <a:xfrm>
              <a:off x="6657482" y="2745544"/>
              <a:ext cx="1717046" cy="44912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p:spPr>
          <p:txBody>
            <a:bodyPr lIns="0" tIns="46800" rIns="0" bIns="46800">
              <a:spAutoFit/>
            </a:bodyPr>
            <a:lstStyle/>
            <a:p>
              <a:pPr algn="ctr" fontAlgn="auto">
                <a:lnSpc>
                  <a:spcPct val="90000"/>
                </a:lnSpc>
                <a:spcBef>
                  <a:spcPts val="0"/>
                </a:spcBef>
                <a:spcAft>
                  <a:spcPts val="0"/>
                </a:spcAft>
                <a:buClr>
                  <a:srgbClr val="000000"/>
                </a:buClr>
                <a:buSzPct val="100000"/>
                <a:buFont typeface="Arial" charset="0"/>
                <a:buNone/>
                <a:defRPr/>
              </a:pPr>
              <a:r>
                <a:rPr lang="en-US" b="1" kern="0" dirty="0">
                  <a:solidFill>
                    <a:srgbClr val="00B0F0"/>
                  </a:solidFill>
                  <a:ea typeface="ＭＳ Ｐゴシック" charset="0"/>
                  <a:cs typeface="ＭＳ Ｐゴシック" charset="0"/>
                </a:rPr>
                <a:t>Operations/</a:t>
              </a:r>
              <a:br>
                <a:rPr lang="en-US" b="1" kern="0" dirty="0">
                  <a:solidFill>
                    <a:srgbClr val="00B0F0"/>
                  </a:solidFill>
                  <a:ea typeface="ＭＳ Ｐゴシック" charset="0"/>
                  <a:cs typeface="ＭＳ Ｐゴシック" charset="0"/>
                </a:rPr>
              </a:br>
              <a:r>
                <a:rPr lang="en-US" b="1" kern="0" dirty="0">
                  <a:solidFill>
                    <a:srgbClr val="00B0F0"/>
                  </a:solidFill>
                  <a:ea typeface="ＭＳ Ｐゴシック" charset="0"/>
                  <a:cs typeface="ＭＳ Ｐゴシック" charset="0"/>
                </a:rPr>
                <a:t>Production</a:t>
              </a:r>
            </a:p>
          </p:txBody>
        </p:sp>
        <p:sp>
          <p:nvSpPr>
            <p:cNvPr id="53" name="Text Box 8_3"/>
            <p:cNvSpPr>
              <a:spLocks noChangeArrowheads="1"/>
            </p:cNvSpPr>
            <p:nvPr/>
          </p:nvSpPr>
          <p:spPr bwMode="auto">
            <a:xfrm>
              <a:off x="4682712" y="2745544"/>
              <a:ext cx="1717046" cy="449120"/>
            </a:xfrm>
            <a:custGeom>
              <a:avLst/>
              <a:gdLst>
                <a:gd name="T0" fmla="*/ 1644360568 w 21600"/>
                <a:gd name="T1" fmla="*/ 0 h 21600"/>
                <a:gd name="T2" fmla="*/ 1644360568 w 21600"/>
                <a:gd name="T3" fmla="*/ 170024 h 21600"/>
                <a:gd name="T4" fmla="*/ 1644360568 w 21600"/>
                <a:gd name="T5" fmla="*/ 170024 h 21600"/>
                <a:gd name="T6" fmla="*/ 0 w 21600"/>
                <a:gd name="T7" fmla="*/ 17002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p:spPr>
          <p:txBody>
            <a:bodyPr lIns="0" tIns="46800" rIns="0" bIns="46800">
              <a:spAutoFit/>
            </a:bodyPr>
            <a:lstStyle/>
            <a:p>
              <a:pPr algn="ctr" fontAlgn="auto">
                <a:lnSpc>
                  <a:spcPct val="90000"/>
                </a:lnSpc>
                <a:spcBef>
                  <a:spcPts val="0"/>
                </a:spcBef>
                <a:spcAft>
                  <a:spcPts val="0"/>
                </a:spcAft>
                <a:buClr>
                  <a:srgbClr val="000000"/>
                </a:buClr>
                <a:buSzPct val="100000"/>
                <a:buFont typeface="Arial" charset="0"/>
                <a:buNone/>
                <a:defRPr/>
              </a:pPr>
              <a:r>
                <a:rPr lang="en-US" b="1" kern="0" dirty="0">
                  <a:solidFill>
                    <a:srgbClr val="00B0F0"/>
                  </a:solidFill>
                  <a:ea typeface="ＭＳ Ｐゴシック" charset="0"/>
                  <a:cs typeface="ＭＳ Ｐゴシック" charset="0"/>
                </a:rPr>
                <a:t>Development/</a:t>
              </a:r>
              <a:br>
                <a:rPr lang="en-US" b="1" kern="0" dirty="0">
                  <a:solidFill>
                    <a:srgbClr val="00B0F0"/>
                  </a:solidFill>
                  <a:ea typeface="ＭＳ Ｐゴシック" charset="0"/>
                  <a:cs typeface="ＭＳ Ｐゴシック" charset="0"/>
                </a:rPr>
              </a:br>
              <a:r>
                <a:rPr lang="en-US" b="1" kern="0" dirty="0">
                  <a:solidFill>
                    <a:srgbClr val="00B0F0"/>
                  </a:solidFill>
                  <a:ea typeface="ＭＳ Ｐゴシック" charset="0"/>
                  <a:cs typeface="ＭＳ Ｐゴシック" charset="0"/>
                </a:rPr>
                <a:t>Test</a:t>
              </a:r>
            </a:p>
          </p:txBody>
        </p:sp>
        <p:sp>
          <p:nvSpPr>
            <p:cNvPr id="54" name="Text Box 49_2"/>
            <p:cNvSpPr>
              <a:spLocks noChangeArrowheads="1"/>
            </p:cNvSpPr>
            <p:nvPr/>
          </p:nvSpPr>
          <p:spPr bwMode="auto">
            <a:xfrm>
              <a:off x="771663" y="2954359"/>
              <a:ext cx="1715373" cy="275107"/>
            </a:xfrm>
            <a:custGeom>
              <a:avLst/>
              <a:gdLst>
                <a:gd name="T0" fmla="*/ 368527400 w 21600"/>
                <a:gd name="T1" fmla="*/ 0 h 21600"/>
                <a:gd name="T2" fmla="*/ 368527400 w 21600"/>
                <a:gd name="T3" fmla="*/ 0 h 21600"/>
                <a:gd name="T4" fmla="*/ 36852740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p:spPr>
          <p:txBody>
            <a:bodyPr lIns="0" tIns="46800" rIns="0" bIns="46800">
              <a:spAutoFit/>
            </a:bodyPr>
            <a:lstStyle/>
            <a:p>
              <a:pPr algn="ctr" fontAlgn="auto">
                <a:lnSpc>
                  <a:spcPct val="90000"/>
                </a:lnSpc>
                <a:spcBef>
                  <a:spcPts val="0"/>
                </a:spcBef>
                <a:spcAft>
                  <a:spcPts val="0"/>
                </a:spcAft>
                <a:buClr>
                  <a:srgbClr val="000000"/>
                </a:buClr>
                <a:buSzPct val="100000"/>
                <a:buFont typeface="Arial" charset="0"/>
                <a:buNone/>
                <a:defRPr/>
              </a:pPr>
              <a:r>
                <a:rPr lang="en-US" b="1" kern="0" dirty="0">
                  <a:solidFill>
                    <a:srgbClr val="00B0F0"/>
                  </a:solidFill>
                  <a:ea typeface="ＭＳ Ｐゴシック" charset="0"/>
                  <a:cs typeface="ＭＳ Ｐゴシック" charset="0"/>
                </a:rPr>
                <a:t>Customers</a:t>
              </a:r>
            </a:p>
          </p:txBody>
        </p:sp>
        <p:sp>
          <p:nvSpPr>
            <p:cNvPr id="70" name="Text Box 49_2"/>
            <p:cNvSpPr>
              <a:spLocks noChangeArrowheads="1"/>
            </p:cNvSpPr>
            <p:nvPr/>
          </p:nvSpPr>
          <p:spPr bwMode="auto">
            <a:xfrm>
              <a:off x="2719657" y="2745544"/>
              <a:ext cx="1708679" cy="449120"/>
            </a:xfrm>
            <a:custGeom>
              <a:avLst/>
              <a:gdLst>
                <a:gd name="T0" fmla="*/ 245833255 w 21600"/>
                <a:gd name="T1" fmla="*/ 0 h 21600"/>
                <a:gd name="T2" fmla="*/ 245833255 w 21600"/>
                <a:gd name="T3" fmla="*/ 0 h 21600"/>
                <a:gd name="T4" fmla="*/ 245833255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p:spPr>
          <p:txBody>
            <a:bodyPr lIns="0" tIns="46800" rIns="0" bIns="46800">
              <a:spAutoFit/>
            </a:bodyPr>
            <a:lstStyle/>
            <a:p>
              <a:pPr algn="ctr" fontAlgn="auto">
                <a:lnSpc>
                  <a:spcPct val="90000"/>
                </a:lnSpc>
                <a:spcBef>
                  <a:spcPts val="0"/>
                </a:spcBef>
                <a:spcAft>
                  <a:spcPts val="0"/>
                </a:spcAft>
                <a:buClr>
                  <a:srgbClr val="000000"/>
                </a:buClr>
                <a:buSzPct val="100000"/>
                <a:buFont typeface="Arial" charset="0"/>
                <a:buNone/>
                <a:defRPr/>
              </a:pPr>
              <a:r>
                <a:rPr lang="en-US" b="1" kern="0" dirty="0">
                  <a:solidFill>
                    <a:srgbClr val="00B0F0"/>
                  </a:solidFill>
                  <a:ea typeface="ＭＳ Ｐゴシック" charset="0"/>
                  <a:cs typeface="ＭＳ Ｐゴシック" charset="0"/>
                </a:rPr>
                <a:t>Business</a:t>
              </a:r>
              <a:br>
                <a:rPr lang="en-US" b="1" kern="0" dirty="0">
                  <a:solidFill>
                    <a:srgbClr val="00B0F0"/>
                  </a:solidFill>
                  <a:ea typeface="ＭＳ Ｐゴシック" charset="0"/>
                  <a:cs typeface="ＭＳ Ｐゴシック" charset="0"/>
                </a:rPr>
              </a:br>
              <a:r>
                <a:rPr lang="en-US" b="1" kern="0" dirty="0">
                  <a:solidFill>
                    <a:srgbClr val="00B0F0"/>
                  </a:solidFill>
                  <a:ea typeface="ＭＳ Ｐゴシック" charset="0"/>
                  <a:cs typeface="ＭＳ Ｐゴシック" charset="0"/>
                </a:rPr>
                <a:t>Owners</a:t>
              </a:r>
            </a:p>
          </p:txBody>
        </p:sp>
        <p:pic>
          <p:nvPicPr>
            <p:cNvPr id="71"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240881" y="3311294"/>
              <a:ext cx="666750" cy="720725"/>
            </a:xfrm>
            <a:prstGeom prst="rect">
              <a:avLst/>
            </a:prstGeom>
            <a:noFill/>
            <a:ln w="9525">
              <a:noFill/>
              <a:miter lim="800000"/>
              <a:headEnd/>
              <a:tailEnd/>
            </a:ln>
          </p:spPr>
        </p:pic>
        <p:pic>
          <p:nvPicPr>
            <p:cNvPr id="72" name="Picture 3"/>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182804" y="3312882"/>
              <a:ext cx="666750" cy="728662"/>
            </a:xfrm>
            <a:prstGeom prst="rect">
              <a:avLst/>
            </a:prstGeom>
            <a:noFill/>
            <a:ln w="9525">
              <a:noFill/>
              <a:miter lim="800000"/>
              <a:headEnd/>
              <a:tailEnd/>
            </a:ln>
          </p:spPr>
        </p:pic>
        <p:pic>
          <p:nvPicPr>
            <p:cNvPr id="73" name="Picture 52"/>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209382" y="3314469"/>
              <a:ext cx="663575" cy="657225"/>
            </a:xfrm>
            <a:prstGeom prst="rect">
              <a:avLst/>
            </a:prstGeom>
            <a:noFill/>
            <a:ln w="9525">
              <a:noFill/>
              <a:miter lim="800000"/>
              <a:headEnd/>
              <a:tailEnd/>
            </a:ln>
          </p:spPr>
        </p:pic>
        <p:pic>
          <p:nvPicPr>
            <p:cNvPr id="74" name="Picture 8"/>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16038" y="3309707"/>
              <a:ext cx="627062" cy="774700"/>
            </a:xfrm>
            <a:prstGeom prst="rect">
              <a:avLst/>
            </a:prstGeom>
            <a:noFill/>
            <a:ln w="9525">
              <a:noFill/>
              <a:miter lim="800000"/>
              <a:headEnd/>
              <a:tailEnd/>
            </a:ln>
          </p:spPr>
        </p:pic>
        <p:sp>
          <p:nvSpPr>
            <p:cNvPr id="79" name="AutoShape 83"/>
            <p:cNvSpPr>
              <a:spLocks noChangeArrowheads="1"/>
            </p:cNvSpPr>
            <p:nvPr/>
          </p:nvSpPr>
          <p:spPr bwMode="auto">
            <a:xfrm>
              <a:off x="254542" y="1966627"/>
              <a:ext cx="8590248" cy="1703673"/>
            </a:xfrm>
            <a:prstGeom prst="round2SameRect">
              <a:avLst/>
            </a:prstGeom>
            <a:noFill/>
            <a:extLst/>
          </p:spPr>
          <p:txBody>
            <a:bodyPr rot="10800000" anchor="ctr"/>
            <a:lstStyle/>
            <a:p>
              <a:pPr algn="ctr">
                <a:buClr>
                  <a:srgbClr val="000000"/>
                </a:buClr>
                <a:buSzPct val="100000"/>
                <a:buFont typeface="Arial" charset="0"/>
                <a:buNone/>
                <a:defRPr/>
              </a:pPr>
              <a:endParaRPr lang="en-US" b="1" dirty="0">
                <a:solidFill>
                  <a:srgbClr val="FFFFFF"/>
                </a:solidFill>
                <a:ea typeface="ＭＳ Ｐゴシック" charset="0"/>
                <a:cs typeface="ＭＳ Ｐゴシック" charset="0"/>
              </a:endParaRPr>
            </a:p>
          </p:txBody>
        </p:sp>
      </p:grpSp>
      <p:sp>
        <p:nvSpPr>
          <p:cNvPr id="3" name="Title 2"/>
          <p:cNvSpPr>
            <a:spLocks noGrp="1"/>
          </p:cNvSpPr>
          <p:nvPr>
            <p:ph type="title"/>
          </p:nvPr>
        </p:nvSpPr>
        <p:spPr>
          <a:xfrm>
            <a:off x="457148" y="276699"/>
            <a:ext cx="8226425" cy="492443"/>
          </a:xfrm>
          <a:noFill/>
          <a:ln w="9525">
            <a:noFill/>
            <a:miter lim="800000"/>
            <a:headEnd/>
            <a:tailEnd/>
          </a:ln>
        </p:spPr>
        <p:txBody>
          <a:bodyPr vert="horz" wrap="square" lIns="0" tIns="0" rIns="0" bIns="0" numCol="1" anchor="t" anchorCtr="0" compatLnSpc="1">
            <a:prstTxWarp prst="textNoShape">
              <a:avLst/>
            </a:prstTxWarp>
            <a:spAutoFit/>
          </a:bodyPr>
          <a:lstStyle/>
          <a:p>
            <a:pPr algn="ctr"/>
            <a:r>
              <a:rPr lang="en-US" dirty="0"/>
              <a:t>Demystifying DevOps</a:t>
            </a:r>
          </a:p>
        </p:txBody>
      </p:sp>
      <p:sp>
        <p:nvSpPr>
          <p:cNvPr id="80" name="Hexagon 79"/>
          <p:cNvSpPr/>
          <p:nvPr/>
        </p:nvSpPr>
        <p:spPr>
          <a:xfrm>
            <a:off x="7429331" y="5386420"/>
            <a:ext cx="1234440" cy="365760"/>
          </a:xfrm>
          <a:prstGeom prst="hexagon">
            <a:avLst/>
          </a:prstGeom>
          <a:solidFill>
            <a:schemeClr val="accent5">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b="1" dirty="0" smtClean="0">
                <a:solidFill>
                  <a:schemeClr val="bg1"/>
                </a:solidFill>
              </a:rPr>
              <a:t>Continuous Monitoring</a:t>
            </a:r>
            <a:endParaRPr lang="en-US" sz="1100" b="1" dirty="0">
              <a:solidFill>
                <a:schemeClr val="bg1"/>
              </a:solidFill>
            </a:endParaRPr>
          </a:p>
        </p:txBody>
      </p:sp>
    </p:spTree>
    <p:extLst>
      <p:ext uri="{BB962C8B-B14F-4D97-AF65-F5344CB8AC3E}">
        <p14:creationId xmlns:p14="http://schemas.microsoft.com/office/powerpoint/2010/main" val="88648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366838" y="1527175"/>
            <a:ext cx="6729412" cy="492125"/>
          </a:xfrm>
        </p:spPr>
        <p:txBody>
          <a:bodyPr/>
          <a:lstStyle/>
          <a:p>
            <a:r>
              <a:rPr dirty="0" smtClean="0">
                <a:latin typeface="Arial" charset="0"/>
                <a:cs typeface="Arial" charset="0"/>
              </a:rPr>
              <a:t>Thank you</a:t>
            </a:r>
          </a:p>
        </p:txBody>
      </p:sp>
      <p:sp>
        <p:nvSpPr>
          <p:cNvPr id="28675" name="Text Placeholder 2"/>
          <p:cNvSpPr>
            <a:spLocks noGrp="1"/>
          </p:cNvSpPr>
          <p:nvPr>
            <p:ph type="body" sz="quarter" idx="14"/>
          </p:nvPr>
        </p:nvSpPr>
        <p:spPr>
          <a:xfrm>
            <a:off x="1366838" y="2139950"/>
            <a:ext cx="6734175" cy="277813"/>
          </a:xfrm>
        </p:spPr>
        <p:txBody>
          <a:bodyPr/>
          <a:lstStyle/>
          <a:p>
            <a:pPr>
              <a:spcBef>
                <a:spcPct val="0"/>
              </a:spcBef>
              <a:buFont typeface="Arial" charset="0"/>
              <a:buNone/>
            </a:pPr>
            <a:r>
              <a:rPr dirty="0">
                <a:latin typeface="Arial" charset="0"/>
                <a:cs typeface="Arial" charset="0"/>
              </a:rPr>
              <a:t>Visit us at www.techmahindra.com</a:t>
            </a:r>
          </a:p>
        </p:txBody>
      </p:sp>
    </p:spTree>
    <p:extLst>
      <p:ext uri="{BB962C8B-B14F-4D97-AF65-F5344CB8AC3E}">
        <p14:creationId xmlns:p14="http://schemas.microsoft.com/office/powerpoint/2010/main" val="64193665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t1.gstatic.com/images?q=tbn:ANd9GcSEyTxPHPbJM58lSWw1TRY0b1gBjyJaJ993ylHsZ_s6oo0Mkvoo"/>
          <p:cNvPicPr>
            <a:picLocks noChangeAspect="1" noChangeArrowheads="1"/>
          </p:cNvPicPr>
          <p:nvPr/>
        </p:nvPicPr>
        <p:blipFill>
          <a:blip r:embed="rId2" cstate="print"/>
          <a:srcRect/>
          <a:stretch>
            <a:fillRect/>
          </a:stretch>
        </p:blipFill>
        <p:spPr bwMode="auto">
          <a:xfrm>
            <a:off x="1670714" y="1535372"/>
            <a:ext cx="5105400" cy="3679743"/>
          </a:xfrm>
          <a:prstGeom prst="rect">
            <a:avLst/>
          </a:prstGeom>
          <a:noFill/>
        </p:spPr>
      </p:pic>
    </p:spTree>
    <p:extLst>
      <p:ext uri="{BB962C8B-B14F-4D97-AF65-F5344CB8AC3E}">
        <p14:creationId xmlns:p14="http://schemas.microsoft.com/office/powerpoint/2010/main" val="338076396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nk You</a:t>
            </a:r>
            <a:endParaRPr lang="en-US" dirty="0"/>
          </a:p>
        </p:txBody>
      </p:sp>
      <p:sp>
        <p:nvSpPr>
          <p:cNvPr id="5" name="Text Placeholder 4"/>
          <p:cNvSpPr>
            <a:spLocks noGrp="1"/>
          </p:cNvSpPr>
          <p:nvPr>
            <p:ph type="body" sz="quarter" idx="14"/>
          </p:nvPr>
        </p:nvSpPr>
        <p:spPr/>
        <p:txBody>
          <a:bodyPr/>
          <a:lstStyle/>
          <a:p>
            <a:r>
              <a:rPr lang="en-US" dirty="0" smtClean="0"/>
              <a:t>www.techmahindra.com</a:t>
            </a:r>
            <a:endParaRPr lang="en-US" dirty="0"/>
          </a:p>
        </p:txBody>
      </p:sp>
    </p:spTree>
    <p:extLst>
      <p:ext uri="{BB962C8B-B14F-4D97-AF65-F5344CB8AC3E}">
        <p14:creationId xmlns:p14="http://schemas.microsoft.com/office/powerpoint/2010/main" val="362824829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44488" y="2637473"/>
            <a:ext cx="8512175" cy="677108"/>
          </a:xfrm>
          <a:prstGeom prst="rect">
            <a:avLst/>
          </a:prstGeom>
          <a:noFill/>
          <a:ln w="9525">
            <a:noFill/>
            <a:miter lim="800000"/>
            <a:headEnd/>
            <a:tailEnd/>
          </a:ln>
        </p:spPr>
        <p:txBody>
          <a:bodyPr lIns="0" tIns="0" rIns="0" bIns="0">
            <a:spAutoFit/>
          </a:bodyPr>
          <a:lstStyle/>
          <a:p>
            <a:pPr algn="ctr">
              <a:defRPr/>
            </a:pPr>
            <a:r>
              <a:rPr lang="en-US" sz="4400" b="1" dirty="0" smtClean="0">
                <a:solidFill>
                  <a:srgbClr val="FF0000"/>
                </a:solidFill>
                <a:latin typeface="Arial" charset="0"/>
                <a:ea typeface="+mj-ea"/>
                <a:cs typeface="+mj-cs"/>
              </a:rPr>
              <a:t>Backup Slides</a:t>
            </a:r>
            <a:endParaRPr lang="en-US" sz="2000" b="1" dirty="0">
              <a:solidFill>
                <a:srgbClr val="FF0000"/>
              </a:solidFill>
              <a:latin typeface="Arial" charset="0"/>
              <a:ea typeface="+mj-ea"/>
              <a:cs typeface="+mj-cs"/>
            </a:endParaRPr>
          </a:p>
        </p:txBody>
      </p:sp>
    </p:spTree>
    <p:extLst>
      <p:ext uri="{BB962C8B-B14F-4D97-AF65-F5344CB8AC3E}">
        <p14:creationId xmlns:p14="http://schemas.microsoft.com/office/powerpoint/2010/main" val="26932086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68313" y="1031240"/>
            <a:ext cx="8212137" cy="675640"/>
          </a:xfrm>
          <a:ln/>
        </p:spPr>
        <p:txBody>
          <a:bodyPr/>
          <a:lstStyle/>
          <a:p>
            <a:pPr marL="358775" indent="-457200">
              <a:buFontTx/>
              <a:buChar char="•"/>
            </a:pPr>
            <a:r>
              <a:rPr sz="2000" b="0" dirty="0" smtClean="0">
                <a:solidFill>
                  <a:schemeClr val="tx1"/>
                </a:solidFill>
              </a:rPr>
              <a:t>We are creating a Hybrid cloud by connecting our  V</a:t>
            </a:r>
            <a:r>
              <a:rPr lang="en-IN" sz="2000" b="0" dirty="0" smtClean="0">
                <a:solidFill>
                  <a:schemeClr val="tx1"/>
                </a:solidFill>
              </a:rPr>
              <a:t>m</a:t>
            </a:r>
            <a:r>
              <a:rPr sz="2000" b="0" dirty="0" smtClean="0">
                <a:solidFill>
                  <a:schemeClr val="tx1"/>
                </a:solidFill>
              </a:rPr>
              <a:t>ware based Private Cloud with AWS , HP and  Azure </a:t>
            </a:r>
            <a:r>
              <a:rPr lang="en-IN" sz="2000" b="0" dirty="0" smtClean="0">
                <a:solidFill>
                  <a:schemeClr val="tx1"/>
                </a:solidFill>
              </a:rPr>
              <a:t>Public</a:t>
            </a:r>
            <a:r>
              <a:rPr sz="2000" b="0" dirty="0" smtClean="0">
                <a:solidFill>
                  <a:schemeClr val="tx1"/>
                </a:solidFill>
              </a:rPr>
              <a:t> Cloud</a:t>
            </a:r>
            <a:endParaRPr lang="en-IN" sz="3600" b="0" dirty="0" smtClean="0"/>
          </a:p>
        </p:txBody>
      </p:sp>
      <p:sp>
        <p:nvSpPr>
          <p:cNvPr id="16387" name="Rectangle 3"/>
          <p:cNvSpPr>
            <a:spLocks noChangeArrowheads="1"/>
          </p:cNvSpPr>
          <p:nvPr/>
        </p:nvSpPr>
        <p:spPr bwMode="auto">
          <a:xfrm>
            <a:off x="2251075" y="411163"/>
            <a:ext cx="4416425" cy="492443"/>
          </a:xfrm>
          <a:prstGeom prst="rect">
            <a:avLst/>
          </a:prstGeom>
          <a:noFill/>
          <a:ln w="9525">
            <a:noFill/>
            <a:miter lim="800000"/>
            <a:headEnd/>
            <a:tailEnd/>
          </a:ln>
          <a:extLst/>
        </p:spPr>
        <p:txBody>
          <a:bodyPr vert="horz" wrap="square" lIns="0" tIns="0" rIns="0" bIns="0" numCol="1" rtlCol="0" anchor="t" anchorCtr="0" compatLnSpc="1">
            <a:prstTxWarp prst="textNoShape">
              <a:avLst/>
            </a:prstTxWarp>
            <a:spAutoFit/>
          </a:bodyPr>
          <a:lstStyle/>
          <a:p>
            <a:pPr algn="ctr" fontAlgn="base">
              <a:buClr>
                <a:schemeClr val="tx2"/>
              </a:buClr>
            </a:pPr>
            <a:r>
              <a:rPr lang="en-US" sz="3200" b="1" dirty="0">
                <a:solidFill>
                  <a:schemeClr val="tx2"/>
                </a:solidFill>
                <a:latin typeface="Arial" charset="0"/>
                <a:ea typeface="+mj-ea"/>
                <a:cs typeface="Arial" charset="0"/>
              </a:rPr>
              <a:t>Hybrid Cloud Setup</a:t>
            </a:r>
          </a:p>
        </p:txBody>
      </p:sp>
      <p:pic>
        <p:nvPicPr>
          <p:cNvPr id="16388" name="Picture 4"/>
          <p:cNvPicPr>
            <a:picLocks noChangeAspect="1" noChangeArrowheads="1"/>
          </p:cNvPicPr>
          <p:nvPr/>
        </p:nvPicPr>
        <p:blipFill>
          <a:blip r:embed="rId3">
            <a:extLst>
              <a:ext uri="{28A0092B-C50C-407E-A947-70E740481C1C}">
                <a14:useLocalDpi xmlns:a14="http://schemas.microsoft.com/office/drawing/2010/main" val="0"/>
              </a:ext>
            </a:extLst>
          </a:blip>
          <a:srcRect l="839" t="14639" r="1888" b="4578"/>
          <a:stretch>
            <a:fillRect/>
          </a:stretch>
        </p:blipFill>
        <p:spPr bwMode="auto">
          <a:xfrm>
            <a:off x="723900" y="1774190"/>
            <a:ext cx="7602538"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11368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900" y="652523"/>
            <a:ext cx="7986713" cy="5762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18026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Flowchart: Alternate Process 117"/>
          <p:cNvSpPr/>
          <p:nvPr/>
        </p:nvSpPr>
        <p:spPr>
          <a:xfrm>
            <a:off x="755650" y="5373688"/>
            <a:ext cx="2500313" cy="998537"/>
          </a:xfrm>
          <a:prstGeom prst="flowChartAlternateProcess">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ln>
                <a:solidFill>
                  <a:srgbClr val="FF0000"/>
                </a:solidFill>
              </a:ln>
            </a:endParaRPr>
          </a:p>
        </p:txBody>
      </p:sp>
      <p:sp>
        <p:nvSpPr>
          <p:cNvPr id="4" name="Rounded Rectangle 3"/>
          <p:cNvSpPr/>
          <p:nvPr/>
        </p:nvSpPr>
        <p:spPr>
          <a:xfrm>
            <a:off x="428596" y="3298137"/>
            <a:ext cx="8215370" cy="3361969"/>
          </a:xfrm>
          <a:prstGeom prst="roundRect">
            <a:avLst/>
          </a:prstGeom>
        </p:spPr>
        <p:style>
          <a:lnRef idx="1">
            <a:schemeClr val="accent6"/>
          </a:lnRef>
          <a:fillRef idx="2">
            <a:schemeClr val="accent6"/>
          </a:fillRef>
          <a:effectRef idx="1">
            <a:schemeClr val="accent6"/>
          </a:effectRef>
          <a:fontRef idx="minor">
            <a:schemeClr val="dk1"/>
          </a:fontRef>
        </p:style>
        <p:txBody>
          <a:bodyPr anchor="b"/>
          <a:lstStyle/>
          <a:p>
            <a:pPr algn="ctr" eaLnBrk="1" hangingPunct="1">
              <a:defRPr/>
            </a:pPr>
            <a:r>
              <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p>
          <a:p>
            <a:pPr algn="ctr" eaLnBrk="1" hangingPunct="1">
              <a:defRPr/>
            </a:pPr>
            <a:endPar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eaLnBrk="1" hangingPunct="1">
              <a:buFont typeface="Arial" pitchFamily="34" charset="0"/>
              <a:buNone/>
              <a:defRPr/>
            </a:pPr>
            <a:r>
              <a:rPr lang="en-US" sz="1400" b="1" dirty="0"/>
              <a:t>Total Servers: 15 </a:t>
            </a:r>
            <a:r>
              <a:rPr lang="en-US" sz="1000" b="1" dirty="0"/>
              <a:t>(9 Blades + 6 Rack Mount)</a:t>
            </a:r>
          </a:p>
          <a:p>
            <a:pPr eaLnBrk="1" hangingPunct="1">
              <a:buFont typeface="Arial" pitchFamily="34" charset="0"/>
              <a:buNone/>
              <a:defRPr/>
            </a:pPr>
            <a:r>
              <a:rPr lang="en-US" sz="1400" b="1" dirty="0"/>
              <a:t>Centralized Storage ~5 TB</a:t>
            </a:r>
          </a:p>
          <a:p>
            <a:pPr eaLnBrk="1" hangingPunct="1">
              <a:defRPr/>
            </a:pPr>
            <a:r>
              <a:rPr lang="en-US" sz="1400" b="1" dirty="0"/>
              <a:t>Total Compute: 39.48 GHz</a:t>
            </a:r>
          </a:p>
          <a:p>
            <a:pPr eaLnBrk="1" hangingPunct="1">
              <a:defRPr/>
            </a:pPr>
            <a:r>
              <a:rPr lang="en-US" sz="1400" b="1" dirty="0"/>
              <a:t>Total Physical Memory: 768 GB </a:t>
            </a:r>
            <a:r>
              <a:rPr lang="en-U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r>
              <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Cloud Data center</a:t>
            </a:r>
            <a:endParaRPr lang="en-IN"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58" name="Rounded Rectangle 57"/>
          <p:cNvSpPr/>
          <p:nvPr/>
        </p:nvSpPr>
        <p:spPr>
          <a:xfrm>
            <a:off x="418416" y="706346"/>
            <a:ext cx="8247860" cy="1991056"/>
          </a:xfrm>
          <a:prstGeom prst="roundRect">
            <a:avLst/>
          </a:prstGeom>
          <a:ln/>
        </p:spPr>
        <p:style>
          <a:lnRef idx="1">
            <a:schemeClr val="accent2"/>
          </a:lnRef>
          <a:fillRef idx="2">
            <a:schemeClr val="accent2"/>
          </a:fillRef>
          <a:effectRef idx="1">
            <a:schemeClr val="accent2"/>
          </a:effectRef>
          <a:fontRef idx="minor">
            <a:schemeClr val="dk1"/>
          </a:fontRef>
        </p:style>
        <p:txBody>
          <a:bodyPr anchor="ctr"/>
          <a:lstStyle/>
          <a:p>
            <a:pPr algn="ctr" eaLnBrk="1" hangingPunct="1">
              <a:defRPr/>
            </a:pPr>
            <a:r>
              <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p>
          <a:p>
            <a:pPr algn="ctr" eaLnBrk="1" hangingPunct="1">
              <a:defRPr/>
            </a:pPr>
            <a:endPar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endPar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eaLnBrk="1" hangingPunct="1">
              <a:defRPr/>
            </a:pPr>
            <a:r>
              <a:rPr lang="en-U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CLOUD CEc</a:t>
            </a:r>
            <a:endParaRPr lang="en-IN"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59" name="Up-Down Arrow 58"/>
          <p:cNvSpPr/>
          <p:nvPr/>
        </p:nvSpPr>
        <p:spPr>
          <a:xfrm>
            <a:off x="1908175" y="2705100"/>
            <a:ext cx="381000" cy="579438"/>
          </a:xfrm>
          <a:prstGeom prst="upDownArrow">
            <a:avLst/>
          </a:prstGeom>
        </p:spPr>
        <p:style>
          <a:lnRef idx="1">
            <a:schemeClr val="accent6"/>
          </a:lnRef>
          <a:fillRef idx="3">
            <a:schemeClr val="accent6"/>
          </a:fillRef>
          <a:effectRef idx="2">
            <a:schemeClr val="accent6"/>
          </a:effectRef>
          <a:fontRef idx="minor">
            <a:schemeClr val="lt1"/>
          </a:fontRef>
        </p:style>
        <p:txBody>
          <a:bodyPr anchor="ctr"/>
          <a:lstStyle/>
          <a:p>
            <a:pPr algn="ctr" eaLnBrk="1" hangingPunct="1">
              <a:defRPr/>
            </a:pPr>
            <a:endParaRPr lang="en-IN"/>
          </a:p>
        </p:txBody>
      </p:sp>
      <p:pic>
        <p:nvPicPr>
          <p:cNvPr id="1331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5375" y="1458913"/>
            <a:ext cx="1728788"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Up-Down Arrow 60"/>
          <p:cNvSpPr/>
          <p:nvPr/>
        </p:nvSpPr>
        <p:spPr>
          <a:xfrm>
            <a:off x="6588125" y="2705100"/>
            <a:ext cx="381000" cy="579438"/>
          </a:xfrm>
          <a:prstGeom prst="upDownArrow">
            <a:avLst/>
          </a:prstGeom>
        </p:spPr>
        <p:style>
          <a:lnRef idx="1">
            <a:schemeClr val="accent6"/>
          </a:lnRef>
          <a:fillRef idx="3">
            <a:schemeClr val="accent6"/>
          </a:fillRef>
          <a:effectRef idx="2">
            <a:schemeClr val="accent6"/>
          </a:effectRef>
          <a:fontRef idx="minor">
            <a:schemeClr val="lt1"/>
          </a:fontRef>
        </p:style>
        <p:txBody>
          <a:bodyPr anchor="ctr"/>
          <a:lstStyle/>
          <a:p>
            <a:pPr algn="ctr" eaLnBrk="1" hangingPunct="1">
              <a:defRPr/>
            </a:pPr>
            <a:endParaRPr lang="en-IN"/>
          </a:p>
        </p:txBody>
      </p:sp>
      <p:sp>
        <p:nvSpPr>
          <p:cNvPr id="57" name="Rounded Rectangle 56"/>
          <p:cNvSpPr/>
          <p:nvPr/>
        </p:nvSpPr>
        <p:spPr>
          <a:xfrm>
            <a:off x="2276150" y="4031678"/>
            <a:ext cx="1864339" cy="320460"/>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400" b="1" dirty="0">
                <a:ln w="1905"/>
                <a:solidFill>
                  <a:schemeClr val="bg1"/>
                </a:solidFill>
                <a:effectLst>
                  <a:innerShdw blurRad="69850" dist="43180" dir="5400000">
                    <a:srgbClr val="000000">
                      <a:alpha val="65000"/>
                    </a:srgbClr>
                  </a:innerShdw>
                </a:effectLst>
              </a:rPr>
              <a:t>VMware </a:t>
            </a:r>
            <a:r>
              <a:rPr lang="en-US" sz="1400" b="1" dirty="0" smtClean="0">
                <a:ln w="1905"/>
                <a:solidFill>
                  <a:schemeClr val="bg1"/>
                </a:solidFill>
                <a:effectLst>
                  <a:innerShdw blurRad="69850" dist="43180" dir="5400000">
                    <a:srgbClr val="000000">
                      <a:alpha val="65000"/>
                    </a:srgbClr>
                  </a:innerShdw>
                </a:effectLst>
              </a:rPr>
              <a:t>ESXI 5.0</a:t>
            </a:r>
            <a:endParaRPr lang="en-IN" sz="1400" b="1" dirty="0">
              <a:ln w="1905"/>
              <a:solidFill>
                <a:schemeClr val="bg1"/>
              </a:solidFill>
              <a:effectLst>
                <a:innerShdw blurRad="69850" dist="43180" dir="5400000">
                  <a:srgbClr val="000000">
                    <a:alpha val="65000"/>
                  </a:srgbClr>
                </a:innerShdw>
              </a:effectLst>
            </a:endParaRPr>
          </a:p>
        </p:txBody>
      </p:sp>
      <p:sp>
        <p:nvSpPr>
          <p:cNvPr id="70" name="Rounded Rectangle 69"/>
          <p:cNvSpPr/>
          <p:nvPr/>
        </p:nvSpPr>
        <p:spPr>
          <a:xfrm>
            <a:off x="2276151" y="3542987"/>
            <a:ext cx="1870404" cy="399293"/>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en-U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VMware VSphere</a:t>
            </a:r>
            <a:endParaRPr lang="en-IN" sz="14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13322"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1703388" y="765175"/>
            <a:ext cx="50482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6672263" y="765175"/>
            <a:ext cx="503237"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5951538" y="765175"/>
            <a:ext cx="50482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5"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5087938" y="765175"/>
            <a:ext cx="50482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6"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2568575" y="765175"/>
            <a:ext cx="503238"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7"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3432175" y="765175"/>
            <a:ext cx="503238"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8" name="Picture 2" descr="https://encrypted-tbn0.gstatic.com/images?q=tbn:ANd9GcQQJPw6AVVd-lB6TzTaZhazrBHFVewCGWG1SBMPbTbtPMbfMXUc"/>
          <p:cNvPicPr>
            <a:picLocks noChangeAspect="1" noChangeArrowheads="1"/>
          </p:cNvPicPr>
          <p:nvPr/>
        </p:nvPicPr>
        <p:blipFill>
          <a:blip r:embed="rId3">
            <a:extLst>
              <a:ext uri="{28A0092B-C50C-407E-A947-70E740481C1C}">
                <a14:useLocalDpi xmlns:a14="http://schemas.microsoft.com/office/drawing/2010/main" val="0"/>
              </a:ext>
            </a:extLst>
          </a:blip>
          <a:srcRect l="11076" r="11386" b="-2161"/>
          <a:stretch>
            <a:fillRect/>
          </a:stretch>
        </p:blipFill>
        <p:spPr bwMode="auto">
          <a:xfrm>
            <a:off x="4367213" y="765175"/>
            <a:ext cx="50482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Rounded Rectangle 86"/>
          <p:cNvSpPr/>
          <p:nvPr/>
        </p:nvSpPr>
        <p:spPr>
          <a:xfrm>
            <a:off x="817930" y="3547566"/>
            <a:ext cx="1215586" cy="353770"/>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en-IN" sz="1200" dirty="0">
                <a:ln w="18415" cmpd="sng">
                  <a:solidFill>
                    <a:srgbClr val="FFFFFF"/>
                  </a:solidFill>
                  <a:prstDash val="solid"/>
                </a:ln>
                <a:solidFill>
                  <a:srgbClr val="FFFFFF"/>
                </a:solidFill>
                <a:effectLst>
                  <a:outerShdw blurRad="63500" dir="3600000" algn="tl" rotWithShape="0">
                    <a:srgbClr val="000000">
                      <a:alpha val="70000"/>
                    </a:srgbClr>
                  </a:outerShdw>
                </a:effectLst>
              </a:rPr>
              <a:t>Open Stack </a:t>
            </a:r>
          </a:p>
        </p:txBody>
      </p:sp>
      <p:sp>
        <p:nvSpPr>
          <p:cNvPr id="88" name="Rounded Rectangle 87"/>
          <p:cNvSpPr/>
          <p:nvPr/>
        </p:nvSpPr>
        <p:spPr>
          <a:xfrm>
            <a:off x="791661" y="3966392"/>
            <a:ext cx="1241855" cy="360040"/>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b="1" dirty="0">
                <a:ln w="1905"/>
                <a:solidFill>
                  <a:schemeClr val="bg1"/>
                </a:solidFill>
                <a:effectLst>
                  <a:innerShdw blurRad="69850" dist="43180" dir="5400000">
                    <a:srgbClr val="000000">
                      <a:alpha val="65000"/>
                    </a:srgbClr>
                  </a:innerShdw>
                </a:effectLst>
              </a:rPr>
              <a:t>KVM Hypervisor</a:t>
            </a:r>
            <a:endParaRPr lang="en-IN" sz="1200" b="1" dirty="0">
              <a:ln w="1905"/>
              <a:solidFill>
                <a:schemeClr val="bg1"/>
              </a:solidFill>
              <a:effectLst>
                <a:innerShdw blurRad="69850" dist="43180" dir="5400000">
                  <a:srgbClr val="000000">
                    <a:alpha val="65000"/>
                  </a:srgbClr>
                </a:innerShdw>
              </a:effectLst>
            </a:endParaRPr>
          </a:p>
        </p:txBody>
      </p:sp>
      <p:grpSp>
        <p:nvGrpSpPr>
          <p:cNvPr id="13331" name="Group 109"/>
          <p:cNvGrpSpPr>
            <a:grpSpLocks/>
          </p:cNvGrpSpPr>
          <p:nvPr/>
        </p:nvGrpSpPr>
        <p:grpSpPr bwMode="auto">
          <a:xfrm>
            <a:off x="1074738" y="4437063"/>
            <a:ext cx="549275" cy="533400"/>
            <a:chOff x="1643042" y="4714884"/>
            <a:chExt cx="465302" cy="589360"/>
          </a:xfrm>
        </p:grpSpPr>
        <p:pic>
          <p:nvPicPr>
            <p:cNvPr id="13354"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55"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5" name="Rounded Rectangle 44"/>
          <p:cNvSpPr/>
          <p:nvPr/>
        </p:nvSpPr>
        <p:spPr>
          <a:xfrm>
            <a:off x="6388341" y="4072622"/>
            <a:ext cx="1908095" cy="33410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400" b="1" dirty="0">
                <a:ln w="1905"/>
                <a:solidFill>
                  <a:schemeClr val="bg1"/>
                </a:solidFill>
                <a:effectLst>
                  <a:innerShdw blurRad="69850" dist="43180" dir="5400000">
                    <a:srgbClr val="000000">
                      <a:alpha val="65000"/>
                    </a:srgbClr>
                  </a:innerShdw>
                </a:effectLst>
              </a:rPr>
              <a:t>VMware </a:t>
            </a:r>
            <a:r>
              <a:rPr lang="en-US" sz="1400" b="1" dirty="0" smtClean="0">
                <a:ln w="1905"/>
                <a:solidFill>
                  <a:schemeClr val="bg1"/>
                </a:solidFill>
                <a:effectLst>
                  <a:innerShdw blurRad="69850" dist="43180" dir="5400000">
                    <a:srgbClr val="000000">
                      <a:alpha val="65000"/>
                    </a:srgbClr>
                  </a:innerShdw>
                </a:effectLst>
              </a:rPr>
              <a:t>ESXI  5.1</a:t>
            </a:r>
            <a:endParaRPr lang="en-IN" sz="1400" b="1" dirty="0">
              <a:ln w="1905"/>
              <a:solidFill>
                <a:schemeClr val="bg1"/>
              </a:solidFill>
              <a:effectLst>
                <a:innerShdw blurRad="69850" dist="43180" dir="5400000">
                  <a:srgbClr val="000000">
                    <a:alpha val="65000"/>
                  </a:srgbClr>
                </a:innerShdw>
              </a:effectLst>
            </a:endParaRPr>
          </a:p>
        </p:txBody>
      </p:sp>
      <p:sp>
        <p:nvSpPr>
          <p:cNvPr id="46" name="Rounded Rectangle 45"/>
          <p:cNvSpPr/>
          <p:nvPr/>
        </p:nvSpPr>
        <p:spPr>
          <a:xfrm>
            <a:off x="6388341" y="3583931"/>
            <a:ext cx="1908095" cy="397447"/>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en-U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IBM SCO</a:t>
            </a:r>
            <a:endParaRPr lang="en-IN" sz="14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nvGrpSpPr>
          <p:cNvPr id="13334" name="Group 5"/>
          <p:cNvGrpSpPr>
            <a:grpSpLocks/>
          </p:cNvGrpSpPr>
          <p:nvPr/>
        </p:nvGrpSpPr>
        <p:grpSpPr bwMode="auto">
          <a:xfrm>
            <a:off x="6893166" y="4469430"/>
            <a:ext cx="841375" cy="533400"/>
            <a:chOff x="6661299" y="4414838"/>
            <a:chExt cx="841589" cy="533400"/>
          </a:xfrm>
        </p:grpSpPr>
        <p:pic>
          <p:nvPicPr>
            <p:cNvPr id="13350"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1299" y="4414838"/>
              <a:ext cx="252991"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51" name="Group 109"/>
            <p:cNvGrpSpPr>
              <a:grpSpLocks/>
            </p:cNvGrpSpPr>
            <p:nvPr/>
          </p:nvGrpSpPr>
          <p:grpSpPr bwMode="auto">
            <a:xfrm>
              <a:off x="6953613" y="4414838"/>
              <a:ext cx="549275" cy="533400"/>
              <a:chOff x="1643042" y="4714884"/>
              <a:chExt cx="465302" cy="589360"/>
            </a:xfrm>
          </p:grpSpPr>
          <p:pic>
            <p:nvPicPr>
              <p:cNvPr id="13352"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53"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3336" name="Group 109"/>
          <p:cNvGrpSpPr>
            <a:grpSpLocks/>
          </p:cNvGrpSpPr>
          <p:nvPr/>
        </p:nvGrpSpPr>
        <p:grpSpPr bwMode="auto">
          <a:xfrm>
            <a:off x="3402613" y="4428722"/>
            <a:ext cx="549322" cy="533798"/>
            <a:chOff x="1643042" y="4714884"/>
            <a:chExt cx="465302" cy="589360"/>
          </a:xfrm>
        </p:grpSpPr>
        <p:pic>
          <p:nvPicPr>
            <p:cNvPr id="13348"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9"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337"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6509" y="4436665"/>
            <a:ext cx="276249" cy="533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38" name="Group 109"/>
          <p:cNvGrpSpPr>
            <a:grpSpLocks/>
          </p:cNvGrpSpPr>
          <p:nvPr/>
        </p:nvGrpSpPr>
        <p:grpSpPr bwMode="auto">
          <a:xfrm>
            <a:off x="4486560" y="4428722"/>
            <a:ext cx="549322" cy="533798"/>
            <a:chOff x="1643042" y="4714884"/>
            <a:chExt cx="465302" cy="589360"/>
          </a:xfrm>
        </p:grpSpPr>
        <p:pic>
          <p:nvPicPr>
            <p:cNvPr id="13346"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7"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339" name="Group 109"/>
          <p:cNvGrpSpPr>
            <a:grpSpLocks/>
          </p:cNvGrpSpPr>
          <p:nvPr/>
        </p:nvGrpSpPr>
        <p:grpSpPr bwMode="auto">
          <a:xfrm>
            <a:off x="5081493" y="4428722"/>
            <a:ext cx="549322" cy="533798"/>
            <a:chOff x="1643042" y="4714884"/>
            <a:chExt cx="465302" cy="589360"/>
          </a:xfrm>
        </p:grpSpPr>
        <p:pic>
          <p:nvPicPr>
            <p:cNvPr id="13344"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5"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340" name="Group 109"/>
          <p:cNvGrpSpPr>
            <a:grpSpLocks/>
          </p:cNvGrpSpPr>
          <p:nvPr/>
        </p:nvGrpSpPr>
        <p:grpSpPr bwMode="auto">
          <a:xfrm>
            <a:off x="2439747" y="4436665"/>
            <a:ext cx="549322" cy="533798"/>
            <a:chOff x="1643042" y="4714884"/>
            <a:chExt cx="465302" cy="589360"/>
          </a:xfrm>
        </p:grpSpPr>
        <p:pic>
          <p:nvPicPr>
            <p:cNvPr id="13342"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030"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3"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3042" y="4714884"/>
              <a:ext cx="214314"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341" name="Picture 3" descr="C:\Documents and Settings\ST00115653\Desktop\serv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1299" y="4469430"/>
            <a:ext cx="253013" cy="533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46"/>
          <p:cNvSpPr/>
          <p:nvPr/>
        </p:nvSpPr>
        <p:spPr>
          <a:xfrm>
            <a:off x="4353868" y="4049139"/>
            <a:ext cx="1802458" cy="320460"/>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400" b="1" dirty="0">
                <a:ln w="1905"/>
                <a:solidFill>
                  <a:schemeClr val="bg1"/>
                </a:solidFill>
                <a:effectLst>
                  <a:innerShdw blurRad="69850" dist="43180" dir="5400000">
                    <a:srgbClr val="000000">
                      <a:alpha val="65000"/>
                    </a:srgbClr>
                  </a:innerShdw>
                </a:effectLst>
              </a:rPr>
              <a:t>VMware </a:t>
            </a:r>
            <a:r>
              <a:rPr lang="en-US" sz="1400" b="1" dirty="0" smtClean="0">
                <a:ln w="1905"/>
                <a:solidFill>
                  <a:schemeClr val="bg1"/>
                </a:solidFill>
                <a:effectLst>
                  <a:innerShdw blurRad="69850" dist="43180" dir="5400000">
                    <a:srgbClr val="000000">
                      <a:alpha val="65000"/>
                    </a:srgbClr>
                  </a:innerShdw>
                </a:effectLst>
              </a:rPr>
              <a:t>ESXI 5.5</a:t>
            </a:r>
            <a:endParaRPr lang="en-IN" sz="1400" b="1" dirty="0">
              <a:ln w="1905"/>
              <a:solidFill>
                <a:schemeClr val="bg1"/>
              </a:solidFill>
              <a:effectLst>
                <a:innerShdw blurRad="69850" dist="43180" dir="5400000">
                  <a:srgbClr val="000000">
                    <a:alpha val="65000"/>
                  </a:srgbClr>
                </a:innerShdw>
              </a:effectLst>
            </a:endParaRPr>
          </a:p>
        </p:txBody>
      </p:sp>
      <p:sp>
        <p:nvSpPr>
          <p:cNvPr id="48" name="Rounded Rectangle 47"/>
          <p:cNvSpPr/>
          <p:nvPr/>
        </p:nvSpPr>
        <p:spPr>
          <a:xfrm>
            <a:off x="4353868" y="3560448"/>
            <a:ext cx="1870404" cy="399293"/>
          </a:xfrm>
          <a:prstGeom prst="roundRect">
            <a:avLst/>
          </a:prstGeom>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en-U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VMware VSphere</a:t>
            </a:r>
            <a:endParaRPr lang="en-IN" sz="14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49" name="Rectangle 3"/>
          <p:cNvSpPr>
            <a:spLocks noChangeArrowheads="1"/>
          </p:cNvSpPr>
          <p:nvPr/>
        </p:nvSpPr>
        <p:spPr bwMode="auto">
          <a:xfrm>
            <a:off x="1325879" y="167323"/>
            <a:ext cx="7162801" cy="492443"/>
          </a:xfrm>
          <a:prstGeom prst="rect">
            <a:avLst/>
          </a:prstGeom>
          <a:noFill/>
          <a:ln w="9525">
            <a:noFill/>
            <a:miter lim="800000"/>
            <a:headEnd/>
            <a:tailEnd/>
          </a:ln>
          <a:extLst/>
        </p:spPr>
        <p:txBody>
          <a:bodyPr vert="horz" wrap="square" lIns="0" tIns="0" rIns="0" bIns="0" numCol="1" rtlCol="0" anchor="t" anchorCtr="0" compatLnSpc="1">
            <a:prstTxWarp prst="textNoShape">
              <a:avLst/>
            </a:prstTxWarp>
            <a:spAutoFit/>
          </a:bodyPr>
          <a:lstStyle/>
          <a:p>
            <a:pPr fontAlgn="base">
              <a:spcBef>
                <a:spcPct val="0"/>
              </a:spcBef>
              <a:buClr>
                <a:schemeClr val="tx2"/>
              </a:buClr>
            </a:pPr>
            <a:r>
              <a:rPr lang="en-US" sz="3200" b="1" dirty="0">
                <a:solidFill>
                  <a:schemeClr val="tx2"/>
                </a:solidFill>
                <a:latin typeface="Arial" charset="0"/>
                <a:ea typeface="+mj-ea"/>
                <a:cs typeface="Arial" charset="0"/>
              </a:rPr>
              <a:t>TechM Cloud Data Center Setup</a:t>
            </a:r>
          </a:p>
        </p:txBody>
      </p:sp>
    </p:spTree>
    <p:extLst>
      <p:ext uri="{BB962C8B-B14F-4D97-AF65-F5344CB8AC3E}">
        <p14:creationId xmlns:p14="http://schemas.microsoft.com/office/powerpoint/2010/main" val="196885273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7529945"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IN" sz="3200" dirty="0">
                <a:solidFill>
                  <a:srgbClr val="6D6E71"/>
                </a:solidFill>
              </a:rPr>
              <a:t>Type 1 and Type 2 </a:t>
            </a:r>
            <a:r>
              <a:rPr lang="en-IN" sz="3200" dirty="0" smtClean="0">
                <a:solidFill>
                  <a:srgbClr val="6D6E71"/>
                </a:solidFill>
              </a:rPr>
              <a:t>Hypervisors (1of 2)</a:t>
            </a:r>
            <a:endParaRPr lang="en-IN" sz="3200" dirty="0">
              <a:solidFill>
                <a:srgbClr val="6D6E71"/>
              </a:solidFill>
            </a:endParaRPr>
          </a:p>
        </p:txBody>
      </p:sp>
      <p:pic>
        <p:nvPicPr>
          <p:cNvPr id="4" name="Picture 2" descr="Hyperviseur.png">
            <a:hlinkClick r:id="rId3"/>
          </p:cNvPr>
          <p:cNvPicPr>
            <a:picLocks noChangeAspect="1" noChangeArrowheads="1"/>
          </p:cNvPicPr>
          <p:nvPr/>
        </p:nvPicPr>
        <p:blipFill>
          <a:blip r:embed="rId4" cstate="print"/>
          <a:srcRect/>
          <a:stretch>
            <a:fillRect/>
          </a:stretch>
        </p:blipFill>
        <p:spPr bwMode="auto">
          <a:xfrm>
            <a:off x="496970" y="1295400"/>
            <a:ext cx="5335214" cy="3331191"/>
          </a:xfrm>
          <a:prstGeom prst="rect">
            <a:avLst/>
          </a:prstGeom>
          <a:noFill/>
        </p:spPr>
      </p:pic>
      <p:grpSp>
        <p:nvGrpSpPr>
          <p:cNvPr id="5" name="Group 4"/>
          <p:cNvGrpSpPr/>
          <p:nvPr/>
        </p:nvGrpSpPr>
        <p:grpSpPr>
          <a:xfrm>
            <a:off x="6384579" y="3238816"/>
            <a:ext cx="2302160" cy="3298461"/>
            <a:chOff x="6553199" y="1143000"/>
            <a:chExt cx="1981454" cy="3225762"/>
          </a:xfrm>
        </p:grpSpPr>
        <p:grpSp>
          <p:nvGrpSpPr>
            <p:cNvPr id="6" name="Group 23"/>
            <p:cNvGrpSpPr>
              <a:grpSpLocks/>
            </p:cNvGrpSpPr>
            <p:nvPr/>
          </p:nvGrpSpPr>
          <p:grpSpPr bwMode="auto">
            <a:xfrm>
              <a:off x="6553199" y="1961470"/>
              <a:ext cx="1981454" cy="2407292"/>
              <a:chOff x="5638800" y="1676400"/>
              <a:chExt cx="2895600" cy="2057400"/>
            </a:xfrm>
          </p:grpSpPr>
          <p:sp>
            <p:nvSpPr>
              <p:cNvPr id="10" name="Rounded Rectangle 12"/>
              <p:cNvSpPr>
                <a:spLocks noChangeArrowheads="1"/>
              </p:cNvSpPr>
              <p:nvPr/>
            </p:nvSpPr>
            <p:spPr bwMode="auto">
              <a:xfrm>
                <a:off x="5638800" y="3276600"/>
                <a:ext cx="2895600" cy="457200"/>
              </a:xfrm>
              <a:prstGeom prst="roundRect">
                <a:avLst>
                  <a:gd name="adj" fmla="val 16667"/>
                </a:avLst>
              </a:prstGeom>
              <a:solidFill>
                <a:srgbClr val="FFCC99"/>
              </a:solidFill>
              <a:ln w="9525" algn="ctr">
                <a:solidFill>
                  <a:schemeClr val="bg2"/>
                </a:solidFill>
                <a:round/>
                <a:headEnd/>
                <a:tailEnd/>
              </a:ln>
            </p:spPr>
            <p:txBody>
              <a:bodyPr anchor="ctr"/>
              <a:lstStyle/>
              <a:p>
                <a:pPr algn="ctr"/>
                <a:r>
                  <a:rPr lang="en-US" dirty="0"/>
                  <a:t>Hardware</a:t>
                </a:r>
              </a:p>
            </p:txBody>
          </p:sp>
          <p:sp>
            <p:nvSpPr>
              <p:cNvPr id="11" name="Rounded Rectangle 13"/>
              <p:cNvSpPr>
                <a:spLocks noChangeArrowheads="1"/>
              </p:cNvSpPr>
              <p:nvPr/>
            </p:nvSpPr>
            <p:spPr bwMode="auto">
              <a:xfrm>
                <a:off x="56388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t>OS1</a:t>
                </a:r>
                <a:endParaRPr lang="en-US" dirty="0"/>
              </a:p>
            </p:txBody>
          </p:sp>
          <p:sp>
            <p:nvSpPr>
              <p:cNvPr id="12" name="Rounded Rectangle 14"/>
              <p:cNvSpPr>
                <a:spLocks noChangeArrowheads="1"/>
              </p:cNvSpPr>
              <p:nvPr/>
            </p:nvSpPr>
            <p:spPr bwMode="auto">
              <a:xfrm>
                <a:off x="5638800" y="167640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t>App1</a:t>
                </a:r>
                <a:endParaRPr lang="en-US" dirty="0"/>
              </a:p>
            </p:txBody>
          </p:sp>
          <p:sp>
            <p:nvSpPr>
              <p:cNvPr id="13" name="Rounded Rectangle 15"/>
              <p:cNvSpPr>
                <a:spLocks noChangeArrowheads="1"/>
              </p:cNvSpPr>
              <p:nvPr/>
            </p:nvSpPr>
            <p:spPr bwMode="auto">
              <a:xfrm>
                <a:off x="6629400" y="167640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t>App2</a:t>
                </a:r>
                <a:endParaRPr lang="en-US" dirty="0"/>
              </a:p>
            </p:txBody>
          </p:sp>
          <p:sp>
            <p:nvSpPr>
              <p:cNvPr id="14" name="Rounded Rectangle 16"/>
              <p:cNvSpPr>
                <a:spLocks noChangeArrowheads="1"/>
              </p:cNvSpPr>
              <p:nvPr/>
            </p:nvSpPr>
            <p:spPr bwMode="auto">
              <a:xfrm>
                <a:off x="7620000" y="167640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t>App3</a:t>
                </a:r>
                <a:endParaRPr lang="en-US" dirty="0"/>
              </a:p>
            </p:txBody>
          </p:sp>
          <p:sp>
            <p:nvSpPr>
              <p:cNvPr id="15" name="Rounded Rectangle 17"/>
              <p:cNvSpPr>
                <a:spLocks noChangeArrowheads="1"/>
              </p:cNvSpPr>
              <p:nvPr/>
            </p:nvSpPr>
            <p:spPr bwMode="auto">
              <a:xfrm>
                <a:off x="5638800" y="2743200"/>
                <a:ext cx="2895600" cy="457200"/>
              </a:xfrm>
              <a:prstGeom prst="roundRect">
                <a:avLst>
                  <a:gd name="adj" fmla="val 16667"/>
                </a:avLst>
              </a:prstGeom>
              <a:solidFill>
                <a:srgbClr val="CC99FF"/>
              </a:solidFill>
              <a:ln w="9525" algn="ctr">
                <a:solidFill>
                  <a:schemeClr val="bg2"/>
                </a:solidFill>
                <a:round/>
                <a:headEnd/>
                <a:tailEnd/>
              </a:ln>
            </p:spPr>
            <p:txBody>
              <a:bodyPr anchor="ctr"/>
              <a:lstStyle/>
              <a:p>
                <a:pPr algn="ctr"/>
                <a:r>
                  <a:rPr lang="en-US" dirty="0"/>
                  <a:t>Hypervisor</a:t>
                </a:r>
              </a:p>
            </p:txBody>
          </p:sp>
          <p:sp>
            <p:nvSpPr>
              <p:cNvPr id="16" name="Rounded Rectangle 18"/>
              <p:cNvSpPr>
                <a:spLocks noChangeArrowheads="1"/>
              </p:cNvSpPr>
              <p:nvPr/>
            </p:nvSpPr>
            <p:spPr bwMode="auto">
              <a:xfrm>
                <a:off x="66294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t>OS2</a:t>
                </a:r>
                <a:endParaRPr lang="en-US" dirty="0"/>
              </a:p>
            </p:txBody>
          </p:sp>
          <p:sp>
            <p:nvSpPr>
              <p:cNvPr id="17" name="Rounded Rectangle 19"/>
              <p:cNvSpPr>
                <a:spLocks noChangeArrowheads="1"/>
              </p:cNvSpPr>
              <p:nvPr/>
            </p:nvSpPr>
            <p:spPr bwMode="auto">
              <a:xfrm>
                <a:off x="76200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t>OS3</a:t>
                </a:r>
                <a:endParaRPr lang="en-US" dirty="0"/>
              </a:p>
            </p:txBody>
          </p:sp>
        </p:grpSp>
        <p:pic>
          <p:nvPicPr>
            <p:cNvPr id="7" name="Picture 2"/>
            <p:cNvPicPr>
              <a:picLocks noChangeAspect="1" noChangeArrowheads="1"/>
            </p:cNvPicPr>
            <p:nvPr/>
          </p:nvPicPr>
          <p:blipFill>
            <a:blip r:embed="rId5" cstate="print"/>
            <a:srcRect/>
            <a:stretch>
              <a:fillRect/>
            </a:stretch>
          </p:blipFill>
          <p:spPr bwMode="auto">
            <a:xfrm>
              <a:off x="6553199" y="1143000"/>
              <a:ext cx="592635" cy="748519"/>
            </a:xfrm>
            <a:prstGeom prst="rect">
              <a:avLst/>
            </a:prstGeom>
            <a:noFill/>
            <a:ln w="9525">
              <a:noFill/>
              <a:miter lim="800000"/>
              <a:headEnd/>
              <a:tailEnd/>
            </a:ln>
          </p:spPr>
        </p:pic>
        <p:pic>
          <p:nvPicPr>
            <p:cNvPr id="8" name="Picture 4" descr="DUse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051423" y="1179433"/>
              <a:ext cx="714115" cy="702143"/>
            </a:xfrm>
            <a:prstGeom prst="rect">
              <a:avLst/>
            </a:prstGeom>
            <a:noFill/>
            <a:ln w="9525" algn="in">
              <a:noFill/>
              <a:miter lim="800000"/>
              <a:headEnd/>
              <a:tailEnd/>
            </a:ln>
            <a:effectLst/>
          </p:spPr>
        </p:pic>
        <p:pic>
          <p:nvPicPr>
            <p:cNvPr id="9" name="Picture 33" descr="People Chat buddies icon"/>
            <p:cNvPicPr>
              <a:picLocks noChangeAspect="1" noChangeArrowheads="1"/>
            </p:cNvPicPr>
            <p:nvPr/>
          </p:nvPicPr>
          <p:blipFill>
            <a:blip r:embed="rId7" cstate="print"/>
            <a:srcRect/>
            <a:stretch>
              <a:fillRect/>
            </a:stretch>
          </p:blipFill>
          <p:spPr bwMode="auto">
            <a:xfrm>
              <a:off x="7762036" y="1256094"/>
              <a:ext cx="716967" cy="603905"/>
            </a:xfrm>
            <a:prstGeom prst="rect">
              <a:avLst/>
            </a:prstGeom>
            <a:noFill/>
            <a:ln w="9525">
              <a:noFill/>
              <a:miter lim="800000"/>
              <a:headEnd/>
              <a:tailEnd/>
            </a:ln>
          </p:spPr>
        </p:pic>
      </p:grpSp>
      <p:graphicFrame>
        <p:nvGraphicFramePr>
          <p:cNvPr id="2" name="Table 1"/>
          <p:cNvGraphicFramePr>
            <a:graphicFrameLocks noGrp="1"/>
          </p:cNvGraphicFramePr>
          <p:nvPr>
            <p:extLst>
              <p:ext uri="{D42A27DB-BD31-4B8C-83A1-F6EECF244321}">
                <p14:modId xmlns:p14="http://schemas.microsoft.com/office/powerpoint/2010/main" val="4258417631"/>
              </p:ext>
            </p:extLst>
          </p:nvPr>
        </p:nvGraphicFramePr>
        <p:xfrm>
          <a:off x="620079" y="4626591"/>
          <a:ext cx="5237697" cy="1950720"/>
        </p:xfrm>
        <a:graphic>
          <a:graphicData uri="http://schemas.openxmlformats.org/drawingml/2006/table">
            <a:tbl>
              <a:tblPr firstRow="1" bandRow="1">
                <a:tableStyleId>{0E3FDE45-AF77-4B5C-9715-49D594BDF05E}</a:tableStyleId>
              </a:tblPr>
              <a:tblGrid>
                <a:gridCol w="2640032"/>
                <a:gridCol w="2597665"/>
              </a:tblGrid>
              <a:tr h="370840">
                <a:tc>
                  <a:txBody>
                    <a:bodyPr/>
                    <a:lstStyle/>
                    <a:p>
                      <a:r>
                        <a:rPr lang="en-US" sz="1400" b="1" dirty="0" smtClean="0">
                          <a:solidFill>
                            <a:schemeClr val="tx1"/>
                          </a:solidFill>
                        </a:rPr>
                        <a:t>TYPE</a:t>
                      </a:r>
                      <a:r>
                        <a:rPr lang="en-US" sz="1400" b="1" baseline="0" dirty="0" smtClean="0">
                          <a:solidFill>
                            <a:schemeClr val="tx1"/>
                          </a:solidFill>
                        </a:rPr>
                        <a:t> 1 Hypervisor </a:t>
                      </a:r>
                      <a:r>
                        <a:rPr lang="en-US" sz="1400" b="0" baseline="0" dirty="0" smtClean="0">
                          <a:solidFill>
                            <a:schemeClr val="tx1"/>
                          </a:solidFill>
                        </a:rPr>
                        <a:t>runs directly on the hardware.</a:t>
                      </a:r>
                      <a:endParaRPr lang="en-US" sz="1400" b="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tcPr>
                </a:tc>
                <a:tc>
                  <a:txBody>
                    <a:bodyPr/>
                    <a:lstStyle/>
                    <a:p>
                      <a:r>
                        <a:rPr lang="en-US" sz="1400" b="1" dirty="0" smtClean="0">
                          <a:solidFill>
                            <a:schemeClr val="tx1"/>
                          </a:solidFill>
                        </a:rPr>
                        <a:t>Type 2 </a:t>
                      </a:r>
                      <a:r>
                        <a:rPr lang="en-IN" sz="1400" b="1" dirty="0" smtClean="0">
                          <a:solidFill>
                            <a:schemeClr val="tx1"/>
                          </a:solidFill>
                        </a:rPr>
                        <a:t>Hypervisor </a:t>
                      </a:r>
                      <a:r>
                        <a:rPr lang="en-IN" sz="1400" b="0" dirty="0" smtClean="0">
                          <a:solidFill>
                            <a:schemeClr val="tx1"/>
                          </a:solidFill>
                        </a:rPr>
                        <a:t>runs directly on another OS, such as Linux / Window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tcPr>
                </a:tc>
              </a:tr>
              <a:tr h="370840">
                <a:tc>
                  <a:txBody>
                    <a:bodyPr/>
                    <a:lstStyle/>
                    <a:p>
                      <a:r>
                        <a:rPr lang="en-US" sz="1400" b="1" dirty="0" smtClean="0">
                          <a:solidFill>
                            <a:schemeClr val="tx1"/>
                          </a:solidFill>
                        </a:rPr>
                        <a:t>Examples:</a:t>
                      </a:r>
                      <a:endParaRPr lang="en-US" sz="1400" b="1" baseline="0" dirty="0" smtClean="0">
                        <a:solidFill>
                          <a:schemeClr val="tx1"/>
                        </a:solidFill>
                      </a:endParaRPr>
                    </a:p>
                    <a:p>
                      <a:r>
                        <a:rPr lang="en-US" sz="1400" dirty="0" smtClean="0">
                          <a:solidFill>
                            <a:schemeClr val="tx1"/>
                          </a:solidFill>
                        </a:rPr>
                        <a:t>Citrix </a:t>
                      </a:r>
                      <a:r>
                        <a:rPr lang="en-US" sz="1400" dirty="0" err="1" smtClean="0">
                          <a:solidFill>
                            <a:schemeClr val="tx1"/>
                          </a:solidFill>
                        </a:rPr>
                        <a:t>Xen</a:t>
                      </a:r>
                      <a:r>
                        <a:rPr lang="en-US" sz="1400" dirty="0" smtClean="0">
                          <a:solidFill>
                            <a:schemeClr val="tx1"/>
                          </a:solidFill>
                        </a:rPr>
                        <a:t> Server, KVM, VMware ESX / </a:t>
                      </a:r>
                      <a:r>
                        <a:rPr lang="en-US" sz="1400" dirty="0" err="1" smtClean="0">
                          <a:solidFill>
                            <a:schemeClr val="tx1"/>
                          </a:solidFill>
                        </a:rPr>
                        <a:t>ESXi</a:t>
                      </a:r>
                      <a:r>
                        <a:rPr lang="en-US" sz="1400" dirty="0" smtClean="0">
                          <a:solidFill>
                            <a:schemeClr val="tx1"/>
                          </a:solidFill>
                        </a:rPr>
                        <a:t>, Microsoft Hyper-V, IBM </a:t>
                      </a:r>
                      <a:r>
                        <a:rPr lang="en-US" sz="1400" dirty="0" err="1" smtClean="0">
                          <a:solidFill>
                            <a:schemeClr val="tx1"/>
                          </a:solidFill>
                        </a:rPr>
                        <a:t>PowerVM</a:t>
                      </a:r>
                      <a:endParaRPr lang="en-US" sz="1400" dirty="0" smtClean="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tcPr>
                </a:tc>
                <a:tc>
                  <a:txBody>
                    <a:bodyPr/>
                    <a:lstStyle/>
                    <a:p>
                      <a:r>
                        <a:rPr lang="en-US" sz="1400" b="1" dirty="0" smtClean="0">
                          <a:solidFill>
                            <a:schemeClr val="tx1"/>
                          </a:solidFill>
                        </a:rPr>
                        <a:t>Examples:</a:t>
                      </a:r>
                    </a:p>
                    <a:p>
                      <a:r>
                        <a:rPr lang="en-US" sz="1400" dirty="0" smtClean="0">
                          <a:solidFill>
                            <a:schemeClr val="tx1"/>
                          </a:solidFill>
                        </a:rPr>
                        <a:t>VMware Workstation, Sun’s </a:t>
                      </a:r>
                      <a:r>
                        <a:rPr lang="en-US" sz="1400" dirty="0" err="1" smtClean="0">
                          <a:solidFill>
                            <a:schemeClr val="tx1"/>
                          </a:solidFill>
                        </a:rPr>
                        <a:t>VirtualBox</a:t>
                      </a:r>
                      <a:r>
                        <a:rPr lang="en-US" sz="1400" dirty="0" smtClean="0">
                          <a:solidFill>
                            <a:schemeClr val="tx1"/>
                          </a:solidFill>
                        </a:rPr>
                        <a:t> </a:t>
                      </a:r>
                    </a:p>
                    <a:p>
                      <a:endParaRPr lang="en-US" sz="1400" dirty="0" smtClean="0">
                        <a:solidFill>
                          <a:schemeClr val="tx1"/>
                        </a:solidFill>
                      </a:endParaRPr>
                    </a:p>
                    <a:p>
                      <a:endParaRPr lang="en-US"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tcPr>
                </a:tc>
              </a:tr>
            </a:tbl>
          </a:graphicData>
        </a:graphic>
      </p:graphicFrame>
    </p:spTree>
    <p:extLst>
      <p:ext uri="{BB962C8B-B14F-4D97-AF65-F5344CB8AC3E}">
        <p14:creationId xmlns:p14="http://schemas.microsoft.com/office/powerpoint/2010/main" val="1783409553"/>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1"/>
          <p:cNvSpPr>
            <a:spLocks noChangeArrowheads="1"/>
          </p:cNvSpPr>
          <p:nvPr/>
        </p:nvSpPr>
        <p:spPr bwMode="auto">
          <a:xfrm>
            <a:off x="1327256" y="358297"/>
            <a:ext cx="647700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fontAlgn="base">
              <a:spcBef>
                <a:spcPct val="0"/>
              </a:spcBef>
              <a:spcAft>
                <a:spcPct val="0"/>
              </a:spcAft>
            </a:pPr>
            <a:r>
              <a:rPr lang="en-IN" sz="3200" b="1" dirty="0">
                <a:solidFill>
                  <a:srgbClr val="6D6E71"/>
                </a:solidFill>
                <a:latin typeface="Arial" pitchFamily="34" charset="0"/>
                <a:ea typeface="+mj-ea"/>
                <a:cs typeface="+mj-cs"/>
              </a:rPr>
              <a:t>Docker and </a:t>
            </a:r>
            <a:r>
              <a:rPr lang="en-IN" sz="3200" b="1" dirty="0" smtClean="0">
                <a:solidFill>
                  <a:srgbClr val="6D6E71"/>
                </a:solidFill>
                <a:latin typeface="Arial" pitchFamily="34" charset="0"/>
                <a:ea typeface="+mj-ea"/>
                <a:cs typeface="+mj-cs"/>
              </a:rPr>
              <a:t>virtualization</a:t>
            </a:r>
            <a:endParaRPr lang="en-IN" sz="3200" b="1" dirty="0">
              <a:solidFill>
                <a:srgbClr val="6D6E71"/>
              </a:solidFill>
              <a:latin typeface="Arial" pitchFamily="34" charset="0"/>
              <a:ea typeface="+mj-ea"/>
              <a:cs typeface="+mj-cs"/>
            </a:endParaRPr>
          </a:p>
        </p:txBody>
      </p:sp>
      <p:sp>
        <p:nvSpPr>
          <p:cNvPr id="31" name="Rectangle 30"/>
          <p:cNvSpPr/>
          <p:nvPr/>
        </p:nvSpPr>
        <p:spPr>
          <a:xfrm>
            <a:off x="959068" y="895372"/>
            <a:ext cx="7585841" cy="1754326"/>
          </a:xfrm>
          <a:prstGeom prst="rect">
            <a:avLst/>
          </a:prstGeom>
        </p:spPr>
        <p:txBody>
          <a:bodyPr wrap="square">
            <a:spAutoFit/>
          </a:bodyPr>
          <a:lstStyle/>
          <a:p>
            <a:pPr marL="285750" indent="-285750" algn="just">
              <a:buFont typeface="Wingdings" pitchFamily="2" charset="2"/>
              <a:buChar char="§"/>
            </a:pPr>
            <a:r>
              <a:rPr lang="en-IN" dirty="0"/>
              <a:t>Docker is not a hypervisor</a:t>
            </a:r>
            <a:r>
              <a:rPr lang="en-IN" dirty="0" smtClean="0"/>
              <a:t>.</a:t>
            </a:r>
            <a:r>
              <a:rPr lang="en-IN" dirty="0"/>
              <a:t> It’s </a:t>
            </a:r>
            <a:r>
              <a:rPr lang="en-IN" dirty="0" smtClean="0"/>
              <a:t>neither </a:t>
            </a:r>
            <a:r>
              <a:rPr lang="en-IN" dirty="0"/>
              <a:t>a replacement for </a:t>
            </a:r>
            <a:r>
              <a:rPr lang="en-IN" dirty="0" smtClean="0"/>
              <a:t>Hypervisor nor </a:t>
            </a:r>
            <a:r>
              <a:rPr lang="en-IN" dirty="0"/>
              <a:t>for </a:t>
            </a:r>
            <a:r>
              <a:rPr lang="en-IN" dirty="0" smtClean="0"/>
              <a:t>VDI.</a:t>
            </a:r>
            <a:r>
              <a:rPr lang="en-IN" dirty="0"/>
              <a:t> </a:t>
            </a:r>
            <a:endParaRPr lang="en-IN" dirty="0" smtClean="0"/>
          </a:p>
          <a:p>
            <a:pPr marL="285750" indent="-285750" algn="just">
              <a:buFont typeface="Wingdings" pitchFamily="2" charset="2"/>
              <a:buChar char="§"/>
            </a:pPr>
            <a:r>
              <a:rPr lang="en-IN" dirty="0" smtClean="0"/>
              <a:t>Docker </a:t>
            </a:r>
            <a:r>
              <a:rPr lang="en-IN" dirty="0"/>
              <a:t>uses </a:t>
            </a:r>
            <a:r>
              <a:rPr lang="en-IN" b="1" dirty="0"/>
              <a:t>Linux containers </a:t>
            </a:r>
            <a:r>
              <a:rPr lang="en-IN" dirty="0"/>
              <a:t>to make virtualization deployments easier to manage and scale. </a:t>
            </a:r>
            <a:endParaRPr lang="en-IN" dirty="0" smtClean="0"/>
          </a:p>
          <a:p>
            <a:pPr marL="285750" indent="-285750" algn="just">
              <a:buFont typeface="Wingdings" pitchFamily="2" charset="2"/>
              <a:buChar char="§"/>
            </a:pPr>
            <a:r>
              <a:rPr lang="en-IN" dirty="0" smtClean="0"/>
              <a:t>Docker bolts </a:t>
            </a:r>
            <a:r>
              <a:rPr lang="en-IN" dirty="0"/>
              <a:t>containers onto a base OS. It shares parts of the core OS, but keeps each container isolated</a:t>
            </a:r>
            <a:r>
              <a:rPr lang="en-IN" dirty="0" smtClean="0"/>
              <a:t>.</a:t>
            </a:r>
            <a:endParaRPr lang="en-IN" dirty="0"/>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1328"/>
          <a:stretch/>
        </p:blipFill>
        <p:spPr bwMode="auto">
          <a:xfrm>
            <a:off x="305298" y="2880361"/>
            <a:ext cx="8400155" cy="342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05763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36320" y="1512453"/>
            <a:ext cx="4587240" cy="2286082"/>
          </a:xfrm>
          <a:prstGeom prst="rect">
            <a:avLst/>
          </a:prstGeom>
        </p:spPr>
      </p:pic>
      <p:sp>
        <p:nvSpPr>
          <p:cNvPr id="6" name="Rectangle 5"/>
          <p:cNvSpPr/>
          <p:nvPr/>
        </p:nvSpPr>
        <p:spPr>
          <a:xfrm>
            <a:off x="5562600" y="1554540"/>
            <a:ext cx="3439509" cy="2062103"/>
          </a:xfrm>
          <a:prstGeom prst="rect">
            <a:avLst/>
          </a:prstGeom>
        </p:spPr>
        <p:txBody>
          <a:bodyPr wrap="square">
            <a:spAutoFit/>
          </a:bodyPr>
          <a:lstStyle/>
          <a:p>
            <a:pPr marL="285750" indent="-285750" algn="just">
              <a:buFont typeface="Wingdings" pitchFamily="2" charset="2"/>
              <a:buChar char="§"/>
            </a:pPr>
            <a:r>
              <a:rPr lang="en-IN" sz="1600" dirty="0" smtClean="0"/>
              <a:t>Use Containers When:</a:t>
            </a:r>
          </a:p>
          <a:p>
            <a:pPr marL="742950" lvl="1" indent="-285750" algn="just">
              <a:buFont typeface="Wingdings" pitchFamily="2" charset="2"/>
              <a:buChar char="§"/>
            </a:pPr>
            <a:r>
              <a:rPr lang="en-IN" sz="1600" dirty="0" smtClean="0"/>
              <a:t>We want to get most server </a:t>
            </a:r>
            <a:r>
              <a:rPr lang="en-IN" sz="1600" dirty="0"/>
              <a:t>application instances running on the least amount of </a:t>
            </a:r>
            <a:r>
              <a:rPr lang="en-IN" sz="1600" dirty="0" smtClean="0"/>
              <a:t>hardware.</a:t>
            </a:r>
          </a:p>
          <a:p>
            <a:pPr marL="742950" lvl="1" indent="-285750" algn="just">
              <a:buFont typeface="Wingdings" pitchFamily="2" charset="2"/>
              <a:buChar char="§"/>
            </a:pPr>
            <a:endParaRPr lang="en-IN" sz="1600" dirty="0" smtClean="0"/>
          </a:p>
          <a:p>
            <a:pPr marL="742950" lvl="1" indent="-285750" algn="just">
              <a:buFont typeface="Wingdings" pitchFamily="2" charset="2"/>
              <a:buChar char="§"/>
            </a:pPr>
            <a:r>
              <a:rPr lang="en-IN" sz="1600" dirty="0" smtClean="0"/>
              <a:t>We want multiple </a:t>
            </a:r>
            <a:r>
              <a:rPr lang="en-IN" sz="1600" dirty="0"/>
              <a:t>copies of the same </a:t>
            </a:r>
            <a:r>
              <a:rPr lang="en-IN" sz="1600" dirty="0" smtClean="0"/>
              <a:t>application.</a:t>
            </a:r>
          </a:p>
        </p:txBody>
      </p:sp>
      <p:sp>
        <p:nvSpPr>
          <p:cNvPr id="7" name="Rectangle 1"/>
          <p:cNvSpPr>
            <a:spLocks noChangeArrowheads="1"/>
          </p:cNvSpPr>
          <p:nvPr/>
        </p:nvSpPr>
        <p:spPr bwMode="auto">
          <a:xfrm>
            <a:off x="1342496" y="617377"/>
            <a:ext cx="647700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fontAlgn="base">
              <a:spcBef>
                <a:spcPct val="0"/>
              </a:spcBef>
              <a:spcAft>
                <a:spcPct val="0"/>
              </a:spcAft>
            </a:pPr>
            <a:r>
              <a:rPr lang="en-IN" sz="3200" b="1" dirty="0">
                <a:solidFill>
                  <a:srgbClr val="6D6E71"/>
                </a:solidFill>
                <a:latin typeface="Arial" pitchFamily="34" charset="0"/>
                <a:ea typeface="+mj-ea"/>
                <a:cs typeface="+mj-cs"/>
              </a:rPr>
              <a:t>Docker and </a:t>
            </a:r>
            <a:r>
              <a:rPr lang="en-IN" sz="3200" b="1" dirty="0" smtClean="0">
                <a:solidFill>
                  <a:srgbClr val="6D6E71"/>
                </a:solidFill>
                <a:latin typeface="Arial" pitchFamily="34" charset="0"/>
                <a:ea typeface="+mj-ea"/>
                <a:cs typeface="+mj-cs"/>
              </a:rPr>
              <a:t>virtualization</a:t>
            </a:r>
            <a:endParaRPr lang="en-IN" sz="3200" b="1" dirty="0">
              <a:solidFill>
                <a:srgbClr val="6D6E71"/>
              </a:solidFill>
              <a:latin typeface="Arial" pitchFamily="34" charset="0"/>
              <a:ea typeface="+mj-ea"/>
              <a:cs typeface="+mj-cs"/>
            </a:endParaRPr>
          </a:p>
        </p:txBody>
      </p:sp>
      <p:sp>
        <p:nvSpPr>
          <p:cNvPr id="5" name="Rectangle 4"/>
          <p:cNvSpPr/>
          <p:nvPr/>
        </p:nvSpPr>
        <p:spPr>
          <a:xfrm>
            <a:off x="821908" y="3964900"/>
            <a:ext cx="7585841" cy="2308324"/>
          </a:xfrm>
          <a:prstGeom prst="rect">
            <a:avLst/>
          </a:prstGeom>
        </p:spPr>
        <p:txBody>
          <a:bodyPr wrap="square">
            <a:spAutoFit/>
          </a:bodyPr>
          <a:lstStyle/>
          <a:p>
            <a:pPr marL="285750" indent="-285750" algn="just">
              <a:buFont typeface="Wingdings" pitchFamily="2" charset="2"/>
              <a:buChar char="§"/>
            </a:pPr>
            <a:r>
              <a:rPr lang="en-IN" sz="1600" dirty="0"/>
              <a:t>Docker is </a:t>
            </a:r>
            <a:r>
              <a:rPr lang="en-US" sz="1600" dirty="0" smtClean="0"/>
              <a:t>an </a:t>
            </a:r>
            <a:r>
              <a:rPr lang="en-US" sz="1600" dirty="0"/>
              <a:t>open-source </a:t>
            </a:r>
            <a:r>
              <a:rPr lang="en-US" sz="1600" dirty="0" smtClean="0"/>
              <a:t>technology. </a:t>
            </a:r>
            <a:r>
              <a:rPr lang="en-IN" sz="1600" dirty="0" smtClean="0"/>
              <a:t>They </a:t>
            </a:r>
            <a:r>
              <a:rPr lang="en-IN" sz="1600" dirty="0"/>
              <a:t>are much more efficient than hypervisors in system resource terms</a:t>
            </a:r>
            <a:r>
              <a:rPr lang="en-IN" sz="1600" dirty="0" smtClean="0"/>
              <a:t>.</a:t>
            </a:r>
          </a:p>
          <a:p>
            <a:pPr marL="285750" indent="-285750" algn="just">
              <a:buFont typeface="Wingdings" pitchFamily="2" charset="2"/>
              <a:buChar char="§"/>
            </a:pPr>
            <a:r>
              <a:rPr lang="en-IN" sz="1600" dirty="0" smtClean="0"/>
              <a:t>Instead </a:t>
            </a:r>
            <a:r>
              <a:rPr lang="en-IN" sz="1600" dirty="0"/>
              <a:t>of virtualizing hardware, containers rest on top of a single Linux instance. </a:t>
            </a:r>
            <a:endParaRPr lang="en-IN" sz="1600" dirty="0" smtClean="0"/>
          </a:p>
          <a:p>
            <a:pPr marL="285750" indent="-285750" algn="just">
              <a:buFont typeface="Wingdings" pitchFamily="2" charset="2"/>
              <a:buChar char="§"/>
            </a:pPr>
            <a:r>
              <a:rPr lang="en-IN" sz="1600" dirty="0" smtClean="0"/>
              <a:t>With a </a:t>
            </a:r>
            <a:r>
              <a:rPr lang="en-IN" sz="1600" dirty="0"/>
              <a:t>perfectly tuned container system, </a:t>
            </a:r>
            <a:r>
              <a:rPr lang="en-IN" sz="1600" dirty="0" smtClean="0"/>
              <a:t>we can </a:t>
            </a:r>
            <a:r>
              <a:rPr lang="en-IN" sz="1600" dirty="0"/>
              <a:t>have </a:t>
            </a:r>
            <a:r>
              <a:rPr lang="en-IN" sz="1600" dirty="0" smtClean="0"/>
              <a:t>four-to-six </a:t>
            </a:r>
            <a:r>
              <a:rPr lang="en-IN" sz="1600" dirty="0"/>
              <a:t>times the number of server application instances as </a:t>
            </a:r>
            <a:r>
              <a:rPr lang="en-IN" sz="1600" dirty="0" smtClean="0"/>
              <a:t>we </a:t>
            </a:r>
            <a:r>
              <a:rPr lang="en-IN" sz="1600" dirty="0"/>
              <a:t>can using </a:t>
            </a:r>
            <a:r>
              <a:rPr lang="en-IN" sz="1600" dirty="0" smtClean="0"/>
              <a:t>VMs </a:t>
            </a:r>
            <a:r>
              <a:rPr lang="en-IN" sz="1600" dirty="0"/>
              <a:t>on the same hardware</a:t>
            </a:r>
            <a:r>
              <a:rPr lang="en-IN" sz="1600" dirty="0" smtClean="0"/>
              <a:t>.</a:t>
            </a:r>
          </a:p>
          <a:p>
            <a:pPr marL="285750" indent="-285750" algn="just">
              <a:buFont typeface="Wingdings" pitchFamily="2" charset="2"/>
              <a:buChar char="§"/>
            </a:pPr>
            <a:r>
              <a:rPr lang="en-IN" sz="1600" dirty="0" smtClean="0"/>
              <a:t>One </a:t>
            </a:r>
            <a:r>
              <a:rPr lang="en-IN" sz="1600" dirty="0"/>
              <a:t>thing hypervisors can do that containers can’t is to use different operating systems or </a:t>
            </a:r>
            <a:r>
              <a:rPr lang="en-IN" sz="1600" dirty="0" smtClean="0"/>
              <a:t>kernels. </a:t>
            </a:r>
          </a:p>
        </p:txBody>
      </p:sp>
    </p:spTree>
    <p:extLst>
      <p:ext uri="{BB962C8B-B14F-4D97-AF65-F5344CB8AC3E}">
        <p14:creationId xmlns:p14="http://schemas.microsoft.com/office/powerpoint/2010/main" val="2391125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833" y="176981"/>
            <a:ext cx="8224837" cy="492443"/>
          </a:xfrm>
          <a:noFill/>
          <a:ln w="9525">
            <a:noFill/>
            <a:miter lim="800000"/>
            <a:headEnd/>
            <a:tailEnd/>
          </a:ln>
        </p:spPr>
        <p:txBody>
          <a:bodyPr vert="horz" wrap="square" lIns="0" tIns="0" rIns="0" bIns="0" numCol="1" anchor="t" anchorCtr="0" compatLnSpc="1">
            <a:prstTxWarp prst="textNoShape">
              <a:avLst/>
            </a:prstTxWarp>
            <a:spAutoFit/>
          </a:bodyPr>
          <a:lstStyle/>
          <a:p>
            <a:pPr algn="ctr"/>
            <a:r>
              <a:rPr lang="en-US" dirty="0"/>
              <a:t>Goals and Divergent</a:t>
            </a:r>
          </a:p>
        </p:txBody>
      </p:sp>
      <p:sp>
        <p:nvSpPr>
          <p:cNvPr id="5" name="Round Same Side Corner Rectangle 4"/>
          <p:cNvSpPr/>
          <p:nvPr/>
        </p:nvSpPr>
        <p:spPr>
          <a:xfrm>
            <a:off x="3498574" y="787447"/>
            <a:ext cx="1908313" cy="702365"/>
          </a:xfrm>
          <a:prstGeom prst="round2SameRect">
            <a:avLst/>
          </a:prstGeom>
          <a:solidFill>
            <a:schemeClr val="bg2">
              <a:lumMod val="20000"/>
              <a:lumOff val="80000"/>
            </a:schemeClr>
          </a:solidFill>
          <a:ln/>
          <a:effectLst>
            <a:glow rad="63500">
              <a:schemeClr val="accent1">
                <a:satMod val="175000"/>
                <a:alpha val="40000"/>
              </a:schemeClr>
            </a:glo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TextBox 5"/>
          <p:cNvSpPr txBox="1"/>
          <p:nvPr/>
        </p:nvSpPr>
        <p:spPr>
          <a:xfrm>
            <a:off x="3790119" y="892407"/>
            <a:ext cx="1325217" cy="492443"/>
          </a:xfrm>
          <a:prstGeom prst="rect">
            <a:avLst/>
          </a:prstGeom>
          <a:solidFill>
            <a:schemeClr val="bg2">
              <a:lumMod val="20000"/>
              <a:lumOff val="80000"/>
            </a:schemeClr>
          </a:solid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3200" b="1" dirty="0" smtClean="0">
                <a:solidFill>
                  <a:schemeClr val="bg2"/>
                </a:solidFill>
                <a:latin typeface="Calibri" pitchFamily="34" charset="0"/>
                <a:cs typeface="Calibri" pitchFamily="34" charset="0"/>
              </a:rPr>
              <a:t>Dev</a:t>
            </a:r>
            <a:r>
              <a:rPr lang="en-US" sz="3200" b="1" dirty="0" smtClean="0">
                <a:solidFill>
                  <a:schemeClr val="accent6"/>
                </a:solidFill>
                <a:latin typeface="Calibri" pitchFamily="34" charset="0"/>
                <a:cs typeface="Calibri" pitchFamily="34" charset="0"/>
              </a:rPr>
              <a:t>Ops</a:t>
            </a:r>
          </a:p>
        </p:txBody>
      </p:sp>
      <p:sp>
        <p:nvSpPr>
          <p:cNvPr id="7" name="Bevel 6"/>
          <p:cNvSpPr/>
          <p:nvPr/>
        </p:nvSpPr>
        <p:spPr>
          <a:xfrm>
            <a:off x="4101543" y="1489812"/>
            <a:ext cx="702367" cy="3201460"/>
          </a:xfrm>
          <a:prstGeom prst="bevel">
            <a:avLst/>
          </a:prstGeom>
          <a:solidFill>
            <a:schemeClr val="bg1">
              <a:lumMod val="8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9" name="Diagram 8"/>
          <p:cNvGraphicFramePr/>
          <p:nvPr>
            <p:extLst>
              <p:ext uri="{D42A27DB-BD31-4B8C-83A1-F6EECF244321}">
                <p14:modId xmlns:p14="http://schemas.microsoft.com/office/powerpoint/2010/main" val="1522950260"/>
              </p:ext>
            </p:extLst>
          </p:nvPr>
        </p:nvGraphicFramePr>
        <p:xfrm>
          <a:off x="543340" y="1384850"/>
          <a:ext cx="2955234"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7" name="Picture 3" descr="D:\Work-Related\DevOps\lan_party_pictogram_clip_ar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7068" y="2476484"/>
            <a:ext cx="769890" cy="7698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D:\Work-Related\DevOps\lan_party_pictogram_clip_ar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7102" y="1955190"/>
            <a:ext cx="769890" cy="76989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D:\Work-Related\DevOps\lan_party_pictogram_clip_ar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5498" y="2212744"/>
            <a:ext cx="769890" cy="76989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p:cNvGraphicFramePr/>
          <p:nvPr>
            <p:extLst>
              <p:ext uri="{D42A27DB-BD31-4B8C-83A1-F6EECF244321}">
                <p14:modId xmlns:p14="http://schemas.microsoft.com/office/powerpoint/2010/main" val="2338571243"/>
              </p:ext>
            </p:extLst>
          </p:nvPr>
        </p:nvGraphicFramePr>
        <p:xfrm>
          <a:off x="5115336" y="1001435"/>
          <a:ext cx="3193342" cy="39623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8" name="Bevel 17"/>
          <p:cNvSpPr/>
          <p:nvPr/>
        </p:nvSpPr>
        <p:spPr>
          <a:xfrm>
            <a:off x="3649023" y="1489812"/>
            <a:ext cx="1607414" cy="772468"/>
          </a:xfrm>
          <a:prstGeom prst="bevel">
            <a:avLst/>
          </a:prstGeom>
          <a:solidFill>
            <a:schemeClr val="bg1">
              <a:lumMod val="8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p:cNvSpPr txBox="1"/>
          <p:nvPr/>
        </p:nvSpPr>
        <p:spPr>
          <a:xfrm>
            <a:off x="3763617" y="1795472"/>
            <a:ext cx="1643270" cy="184666"/>
          </a:xfrm>
          <a:prstGeom prst="rect">
            <a:avLst/>
          </a:prstGeom>
          <a:noFill/>
          <a:ln w="9525">
            <a:noFill/>
            <a:miter lim="800000"/>
            <a:headEnd/>
            <a:tailEnd/>
          </a:ln>
          <a:effectLst>
            <a:outerShdw blurRad="50800" dist="38100" dir="18900000" algn="bl" rotWithShape="0">
              <a:prstClr val="black">
                <a:alpha val="40000"/>
              </a:prstClr>
            </a:outerShdw>
          </a:effectLst>
        </p:spPr>
        <p:txBody>
          <a:bodyPr vert="horz" wrap="square" lIns="0" tIns="0" rIns="0" bIns="0" numCol="1" rtlCol="0" anchor="t" anchorCtr="0" compatLnSpc="1">
            <a:prstTxWarp prst="textNoShape">
              <a:avLst/>
            </a:prstTxWarp>
            <a:spAutoFit/>
          </a:bodyPr>
          <a:lstStyle/>
          <a:p>
            <a:pPr fontAlgn="base">
              <a:buClr>
                <a:schemeClr val="tx2"/>
              </a:buClr>
            </a:pPr>
            <a:r>
              <a:rPr lang="en-US" sz="1200" b="1" dirty="0" smtClean="0">
                <a:solidFill>
                  <a:schemeClr val="bg2"/>
                </a:solidFill>
                <a:latin typeface="Calibri" pitchFamily="34" charset="0"/>
                <a:cs typeface="Calibri" pitchFamily="34" charset="0"/>
              </a:rPr>
              <a:t>WALL OF CONFUSION</a:t>
            </a:r>
          </a:p>
        </p:txBody>
      </p:sp>
      <p:sp>
        <p:nvSpPr>
          <p:cNvPr id="19" name="Bevel 18"/>
          <p:cNvSpPr/>
          <p:nvPr/>
        </p:nvSpPr>
        <p:spPr>
          <a:xfrm>
            <a:off x="1648262" y="4704524"/>
            <a:ext cx="5759703" cy="530087"/>
          </a:xfrm>
          <a:prstGeom prst="bevel">
            <a:avLst/>
          </a:prstGeom>
          <a:solidFill>
            <a:schemeClr val="bg1">
              <a:lumMod val="8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lowchart: Extract 19"/>
          <p:cNvSpPr/>
          <p:nvPr/>
        </p:nvSpPr>
        <p:spPr>
          <a:xfrm>
            <a:off x="3370241" y="5234611"/>
            <a:ext cx="2213116" cy="1245704"/>
          </a:xfrm>
          <a:prstGeom prst="flowChartExtract">
            <a:avLst/>
          </a:prstGeom>
          <a:solidFill>
            <a:srgbClr val="FFC000"/>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Up Arrow 21"/>
          <p:cNvSpPr/>
          <p:nvPr/>
        </p:nvSpPr>
        <p:spPr>
          <a:xfrm>
            <a:off x="-35396" y="4446106"/>
            <a:ext cx="1709531" cy="1577009"/>
          </a:xfrm>
          <a:prstGeom prst="upArrow">
            <a:avLst/>
          </a:prstGeom>
          <a:solidFill>
            <a:schemeClr val="bg1">
              <a:lumMod val="8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Up Arrow 24"/>
          <p:cNvSpPr/>
          <p:nvPr/>
        </p:nvSpPr>
        <p:spPr>
          <a:xfrm>
            <a:off x="7434469" y="4446105"/>
            <a:ext cx="1709531" cy="1577009"/>
          </a:xfrm>
          <a:prstGeom prst="upArrow">
            <a:avLst/>
          </a:prstGeom>
          <a:solidFill>
            <a:schemeClr val="bg1">
              <a:lumMod val="8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p:cNvSpPr txBox="1"/>
          <p:nvPr/>
        </p:nvSpPr>
        <p:spPr>
          <a:xfrm>
            <a:off x="428430" y="4743896"/>
            <a:ext cx="1007165" cy="86177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bg2"/>
                </a:solidFill>
                <a:latin typeface="Calibri" pitchFamily="34" charset="0"/>
                <a:cs typeface="Calibri" pitchFamily="34" charset="0"/>
              </a:rPr>
              <a:t>Extreme Focus on Functionality change </a:t>
            </a:r>
          </a:p>
        </p:txBody>
      </p:sp>
      <p:sp>
        <p:nvSpPr>
          <p:cNvPr id="27" name="TextBox 26"/>
          <p:cNvSpPr txBox="1"/>
          <p:nvPr/>
        </p:nvSpPr>
        <p:spPr>
          <a:xfrm>
            <a:off x="7984434" y="4919582"/>
            <a:ext cx="1007165" cy="64633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bg2"/>
                </a:solidFill>
                <a:latin typeface="Calibri" pitchFamily="34" charset="0"/>
                <a:cs typeface="Calibri" pitchFamily="34" charset="0"/>
              </a:rPr>
              <a:t>Extreme Focus on Stability</a:t>
            </a:r>
          </a:p>
        </p:txBody>
      </p:sp>
      <p:sp>
        <p:nvSpPr>
          <p:cNvPr id="26" name="TextBox 25"/>
          <p:cNvSpPr txBox="1"/>
          <p:nvPr/>
        </p:nvSpPr>
        <p:spPr>
          <a:xfrm>
            <a:off x="3110069" y="5427413"/>
            <a:ext cx="1475183"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b="1" dirty="0" smtClean="0">
                <a:solidFill>
                  <a:schemeClr val="bg2"/>
                </a:solidFill>
                <a:latin typeface="Calibri" pitchFamily="34" charset="0"/>
                <a:cs typeface="Calibri" pitchFamily="34" charset="0"/>
              </a:rPr>
              <a:t>BUSINESS</a:t>
            </a:r>
          </a:p>
        </p:txBody>
      </p:sp>
      <p:sp>
        <p:nvSpPr>
          <p:cNvPr id="30" name="TextBox 29"/>
          <p:cNvSpPr txBox="1"/>
          <p:nvPr/>
        </p:nvSpPr>
        <p:spPr>
          <a:xfrm>
            <a:off x="4938530" y="5427411"/>
            <a:ext cx="1661053"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b="1" dirty="0" smtClean="0">
                <a:solidFill>
                  <a:schemeClr val="bg2"/>
                </a:solidFill>
                <a:latin typeface="Calibri" pitchFamily="34" charset="0"/>
                <a:cs typeface="Calibri" pitchFamily="34" charset="0"/>
              </a:rPr>
              <a:t>REQUIREMENTS</a:t>
            </a:r>
          </a:p>
        </p:txBody>
      </p:sp>
      <p:sp>
        <p:nvSpPr>
          <p:cNvPr id="28" name="TextBox 27"/>
          <p:cNvSpPr txBox="1"/>
          <p:nvPr/>
        </p:nvSpPr>
        <p:spPr>
          <a:xfrm>
            <a:off x="4025563" y="5939082"/>
            <a:ext cx="912967" cy="43088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2800" b="1" dirty="0" smtClean="0">
                <a:solidFill>
                  <a:schemeClr val="bg2"/>
                </a:solidFill>
                <a:latin typeface="Calibri" pitchFamily="34" charset="0"/>
                <a:cs typeface="Calibri" pitchFamily="34" charset="0"/>
              </a:rPr>
              <a:t>BOTH</a:t>
            </a:r>
          </a:p>
        </p:txBody>
      </p:sp>
      <p:sp>
        <p:nvSpPr>
          <p:cNvPr id="29" name="Left-Right Arrow 28"/>
          <p:cNvSpPr/>
          <p:nvPr/>
        </p:nvSpPr>
        <p:spPr>
          <a:xfrm>
            <a:off x="3603114" y="2665476"/>
            <a:ext cx="1757864" cy="675861"/>
          </a:xfrm>
          <a:prstGeom prst="leftRightArrow">
            <a:avLst/>
          </a:prstGeom>
          <a:solidFill>
            <a:schemeClr val="accent4">
              <a:lumMod val="40000"/>
              <a:lumOff val="60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Left-Right Arrow 32"/>
          <p:cNvSpPr/>
          <p:nvPr/>
        </p:nvSpPr>
        <p:spPr>
          <a:xfrm>
            <a:off x="3603114" y="3320564"/>
            <a:ext cx="1757864" cy="675861"/>
          </a:xfrm>
          <a:prstGeom prst="leftRightArrow">
            <a:avLst/>
          </a:prstGeom>
          <a:solidFill>
            <a:schemeClr val="accent4">
              <a:lumMod val="60000"/>
              <a:lumOff val="40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lumMod val="85000"/>
                </a:schemeClr>
              </a:solidFill>
            </a:endParaRPr>
          </a:p>
        </p:txBody>
      </p:sp>
      <p:sp>
        <p:nvSpPr>
          <p:cNvPr id="34" name="Left-Right Arrow 33"/>
          <p:cNvSpPr/>
          <p:nvPr/>
        </p:nvSpPr>
        <p:spPr>
          <a:xfrm>
            <a:off x="3603114" y="4015411"/>
            <a:ext cx="1757864" cy="675861"/>
          </a:xfrm>
          <a:prstGeom prst="leftRightArrow">
            <a:avLst/>
          </a:prstGeom>
          <a:solidFill>
            <a:schemeClr val="accent3">
              <a:lumMod val="60000"/>
              <a:lumOff val="40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p:cNvSpPr txBox="1"/>
          <p:nvPr/>
        </p:nvSpPr>
        <p:spPr>
          <a:xfrm>
            <a:off x="3969499" y="4245619"/>
            <a:ext cx="1444487"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bg2"/>
                </a:solidFill>
                <a:latin typeface="Calibri" pitchFamily="34" charset="0"/>
                <a:cs typeface="Calibri" pitchFamily="34" charset="0"/>
              </a:rPr>
              <a:t>Collaboration</a:t>
            </a:r>
          </a:p>
        </p:txBody>
      </p:sp>
      <p:sp>
        <p:nvSpPr>
          <p:cNvPr id="36" name="TextBox 35"/>
          <p:cNvSpPr txBox="1"/>
          <p:nvPr/>
        </p:nvSpPr>
        <p:spPr>
          <a:xfrm>
            <a:off x="3790119" y="3550772"/>
            <a:ext cx="1616768"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bg2"/>
                </a:solidFill>
                <a:latin typeface="Calibri" pitchFamily="34" charset="0"/>
                <a:cs typeface="Calibri" pitchFamily="34" charset="0"/>
              </a:rPr>
              <a:t>Continuous Delivery</a:t>
            </a:r>
            <a:endParaRPr lang="en-US" sz="1200" b="1" dirty="0" smtClean="0">
              <a:solidFill>
                <a:schemeClr val="bg2"/>
              </a:solidFill>
              <a:latin typeface="Calibri" pitchFamily="34" charset="0"/>
              <a:cs typeface="Calibri" pitchFamily="34" charset="0"/>
            </a:endParaRPr>
          </a:p>
        </p:txBody>
      </p:sp>
      <p:sp>
        <p:nvSpPr>
          <p:cNvPr id="37" name="TextBox 36"/>
          <p:cNvSpPr txBox="1"/>
          <p:nvPr/>
        </p:nvSpPr>
        <p:spPr>
          <a:xfrm>
            <a:off x="3969499" y="2875098"/>
            <a:ext cx="1444487"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bg2"/>
                </a:solidFill>
                <a:latin typeface="Calibri" pitchFamily="34" charset="0"/>
                <a:cs typeface="Calibri" pitchFamily="34" charset="0"/>
              </a:rPr>
              <a:t>Automation</a:t>
            </a:r>
            <a:endParaRPr lang="en-US" sz="1200" b="1" dirty="0" smtClean="0">
              <a:solidFill>
                <a:schemeClr val="bg2"/>
              </a:solidFill>
              <a:latin typeface="Calibri" pitchFamily="34" charset="0"/>
              <a:cs typeface="Calibri" pitchFamily="34" charset="0"/>
            </a:endParaRPr>
          </a:p>
        </p:txBody>
      </p:sp>
    </p:spTree>
    <p:extLst>
      <p:ext uri="{BB962C8B-B14F-4D97-AF65-F5344CB8AC3E}">
        <p14:creationId xmlns:p14="http://schemas.microsoft.com/office/powerpoint/2010/main" val="325815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500" fill="hold"/>
                                        <p:tgtEl>
                                          <p:spTgt spid="7"/>
                                        </p:tgtEl>
                                        <p:attrNameLst>
                                          <p:attrName>ppt_x</p:attrName>
                                        </p:attrNameLst>
                                      </p:cBhvr>
                                      <p:tavLst>
                                        <p:tav tm="0">
                                          <p:val>
                                            <p:strVal val="#ppt_x"/>
                                          </p:val>
                                        </p:tav>
                                        <p:tav tm="100000">
                                          <p:val>
                                            <p:strVal val="#ppt_x"/>
                                          </p:val>
                                        </p:tav>
                                      </p:tavLst>
                                    </p:anim>
                                    <p:anim calcmode="lin" valueType="num">
                                      <p:cBhvr additive="base">
                                        <p:cTn id="2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2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additive="base">
                                        <p:cTn id="41" dur="500" fill="hold"/>
                                        <p:tgtEl>
                                          <p:spTgt spid="22"/>
                                        </p:tgtEl>
                                        <p:attrNameLst>
                                          <p:attrName>ppt_x</p:attrName>
                                        </p:attrNameLst>
                                      </p:cBhvr>
                                      <p:tavLst>
                                        <p:tav tm="0">
                                          <p:val>
                                            <p:strVal val="#ppt_x"/>
                                          </p:val>
                                        </p:tav>
                                        <p:tav tm="100000">
                                          <p:val>
                                            <p:strVal val="#ppt_x"/>
                                          </p:val>
                                        </p:tav>
                                      </p:tavLst>
                                    </p:anim>
                                    <p:anim calcmode="lin" valueType="num">
                                      <p:cBhvr additive="base">
                                        <p:cTn id="42" dur="500" fill="hold"/>
                                        <p:tgtEl>
                                          <p:spTgt spid="22"/>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anim calcmode="lin" valueType="num">
                                      <p:cBhvr additive="base">
                                        <p:cTn id="45" dur="500" fill="hold"/>
                                        <p:tgtEl>
                                          <p:spTgt spid="23"/>
                                        </p:tgtEl>
                                        <p:attrNameLst>
                                          <p:attrName>ppt_x</p:attrName>
                                        </p:attrNameLst>
                                      </p:cBhvr>
                                      <p:tavLst>
                                        <p:tav tm="0">
                                          <p:val>
                                            <p:strVal val="#ppt_x"/>
                                          </p:val>
                                        </p:tav>
                                        <p:tav tm="100000">
                                          <p:val>
                                            <p:strVal val="#ppt_x"/>
                                          </p:val>
                                        </p:tav>
                                      </p:tavLst>
                                    </p:anim>
                                    <p:anim calcmode="lin" valueType="num">
                                      <p:cBhvr additive="base">
                                        <p:cTn id="4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additive="base">
                                        <p:cTn id="51" dur="500" fill="hold"/>
                                        <p:tgtEl>
                                          <p:spTgt spid="27"/>
                                        </p:tgtEl>
                                        <p:attrNameLst>
                                          <p:attrName>ppt_x</p:attrName>
                                        </p:attrNameLst>
                                      </p:cBhvr>
                                      <p:tavLst>
                                        <p:tav tm="0">
                                          <p:val>
                                            <p:strVal val="#ppt_x"/>
                                          </p:val>
                                        </p:tav>
                                        <p:tav tm="100000">
                                          <p:val>
                                            <p:strVal val="#ppt_x"/>
                                          </p:val>
                                        </p:tav>
                                      </p:tavLst>
                                    </p:anim>
                                    <p:anim calcmode="lin" valueType="num">
                                      <p:cBhvr additive="base">
                                        <p:cTn id="52" dur="500" fill="hold"/>
                                        <p:tgtEl>
                                          <p:spTgt spid="27"/>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5"/>
                                        </p:tgtEl>
                                        <p:attrNameLst>
                                          <p:attrName>style.visibility</p:attrName>
                                        </p:attrNameLst>
                                      </p:cBhvr>
                                      <p:to>
                                        <p:strVal val="visible"/>
                                      </p:to>
                                    </p:set>
                                    <p:anim calcmode="lin" valueType="num">
                                      <p:cBhvr additive="base">
                                        <p:cTn id="55" dur="500" fill="hold"/>
                                        <p:tgtEl>
                                          <p:spTgt spid="25"/>
                                        </p:tgtEl>
                                        <p:attrNameLst>
                                          <p:attrName>ppt_x</p:attrName>
                                        </p:attrNameLst>
                                      </p:cBhvr>
                                      <p:tavLst>
                                        <p:tav tm="0">
                                          <p:val>
                                            <p:strVal val="#ppt_x"/>
                                          </p:val>
                                        </p:tav>
                                        <p:tav tm="100000">
                                          <p:val>
                                            <p:strVal val="#ppt_x"/>
                                          </p:val>
                                        </p:tav>
                                      </p:tavLst>
                                    </p:anim>
                                    <p:anim calcmode="lin" valueType="num">
                                      <p:cBhvr additive="base">
                                        <p:cTn id="5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0"/>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20"/>
                                        </p:tgtEl>
                                        <p:attrNameLst>
                                          <p:attrName>style.visibility</p:attrName>
                                        </p:attrNameLst>
                                      </p:cBhvr>
                                      <p:to>
                                        <p:strVal val="visible"/>
                                      </p:to>
                                    </p:set>
                                    <p:anim calcmode="lin" valueType="num">
                                      <p:cBhvr additive="base">
                                        <p:cTn id="69" dur="500" fill="hold"/>
                                        <p:tgtEl>
                                          <p:spTgt spid="20"/>
                                        </p:tgtEl>
                                        <p:attrNameLst>
                                          <p:attrName>ppt_x</p:attrName>
                                        </p:attrNameLst>
                                      </p:cBhvr>
                                      <p:tavLst>
                                        <p:tav tm="0">
                                          <p:val>
                                            <p:strVal val="#ppt_x"/>
                                          </p:val>
                                        </p:tav>
                                        <p:tav tm="100000">
                                          <p:val>
                                            <p:strVal val="#ppt_x"/>
                                          </p:val>
                                        </p:tav>
                                      </p:tavLst>
                                    </p:anim>
                                    <p:anim calcmode="lin" valueType="num">
                                      <p:cBhvr additive="base">
                                        <p:cTn id="70" dur="500" fill="hold"/>
                                        <p:tgtEl>
                                          <p:spTgt spid="20"/>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 calcmode="lin" valueType="num">
                                      <p:cBhvr additive="base">
                                        <p:cTn id="73" dur="500" fill="hold"/>
                                        <p:tgtEl>
                                          <p:spTgt spid="28"/>
                                        </p:tgtEl>
                                        <p:attrNameLst>
                                          <p:attrName>ppt_x</p:attrName>
                                        </p:attrNameLst>
                                      </p:cBhvr>
                                      <p:tavLst>
                                        <p:tav tm="0">
                                          <p:val>
                                            <p:strVal val="#ppt_x"/>
                                          </p:val>
                                        </p:tav>
                                        <p:tav tm="100000">
                                          <p:val>
                                            <p:strVal val="#ppt_x"/>
                                          </p:val>
                                        </p:tav>
                                      </p:tavLst>
                                    </p:anim>
                                    <p:anim calcmode="lin" valueType="num">
                                      <p:cBhvr additive="base">
                                        <p:cTn id="74"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29"/>
                                        </p:tgtEl>
                                        <p:attrNameLst>
                                          <p:attrName>style.visibility</p:attrName>
                                        </p:attrNameLst>
                                      </p:cBhvr>
                                      <p:to>
                                        <p:strVal val="visible"/>
                                      </p:to>
                                    </p:set>
                                    <p:anim calcmode="lin" valueType="num">
                                      <p:cBhvr additive="base">
                                        <p:cTn id="79" dur="500" fill="hold"/>
                                        <p:tgtEl>
                                          <p:spTgt spid="29"/>
                                        </p:tgtEl>
                                        <p:attrNameLst>
                                          <p:attrName>ppt_x</p:attrName>
                                        </p:attrNameLst>
                                      </p:cBhvr>
                                      <p:tavLst>
                                        <p:tav tm="0">
                                          <p:val>
                                            <p:strVal val="#ppt_x"/>
                                          </p:val>
                                        </p:tav>
                                        <p:tav tm="100000">
                                          <p:val>
                                            <p:strVal val="#ppt_x"/>
                                          </p:val>
                                        </p:tav>
                                      </p:tavLst>
                                    </p:anim>
                                    <p:anim calcmode="lin" valueType="num">
                                      <p:cBhvr additive="base">
                                        <p:cTn id="80" dur="500" fill="hold"/>
                                        <p:tgtEl>
                                          <p:spTgt spid="29"/>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anim calcmode="lin" valueType="num">
                                      <p:cBhvr additive="base">
                                        <p:cTn id="83" dur="500" fill="hold"/>
                                        <p:tgtEl>
                                          <p:spTgt spid="37"/>
                                        </p:tgtEl>
                                        <p:attrNameLst>
                                          <p:attrName>ppt_x</p:attrName>
                                        </p:attrNameLst>
                                      </p:cBhvr>
                                      <p:tavLst>
                                        <p:tav tm="0">
                                          <p:val>
                                            <p:strVal val="#ppt_x"/>
                                          </p:val>
                                        </p:tav>
                                        <p:tav tm="100000">
                                          <p:val>
                                            <p:strVal val="#ppt_x"/>
                                          </p:val>
                                        </p:tav>
                                      </p:tavLst>
                                    </p:anim>
                                    <p:anim calcmode="lin" valueType="num">
                                      <p:cBhvr additive="base">
                                        <p:cTn id="84"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33"/>
                                        </p:tgtEl>
                                        <p:attrNameLst>
                                          <p:attrName>style.visibility</p:attrName>
                                        </p:attrNameLst>
                                      </p:cBhvr>
                                      <p:to>
                                        <p:strVal val="visible"/>
                                      </p:to>
                                    </p:set>
                                    <p:anim calcmode="lin" valueType="num">
                                      <p:cBhvr additive="base">
                                        <p:cTn id="89" dur="500" fill="hold"/>
                                        <p:tgtEl>
                                          <p:spTgt spid="33"/>
                                        </p:tgtEl>
                                        <p:attrNameLst>
                                          <p:attrName>ppt_x</p:attrName>
                                        </p:attrNameLst>
                                      </p:cBhvr>
                                      <p:tavLst>
                                        <p:tav tm="0">
                                          <p:val>
                                            <p:strVal val="#ppt_x"/>
                                          </p:val>
                                        </p:tav>
                                        <p:tav tm="100000">
                                          <p:val>
                                            <p:strVal val="#ppt_x"/>
                                          </p:val>
                                        </p:tav>
                                      </p:tavLst>
                                    </p:anim>
                                    <p:anim calcmode="lin" valueType="num">
                                      <p:cBhvr additive="base">
                                        <p:cTn id="90" dur="500" fill="hold"/>
                                        <p:tgtEl>
                                          <p:spTgt spid="33"/>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36"/>
                                        </p:tgtEl>
                                        <p:attrNameLst>
                                          <p:attrName>style.visibility</p:attrName>
                                        </p:attrNameLst>
                                      </p:cBhvr>
                                      <p:to>
                                        <p:strVal val="visible"/>
                                      </p:to>
                                    </p:set>
                                    <p:anim calcmode="lin" valueType="num">
                                      <p:cBhvr additive="base">
                                        <p:cTn id="93" dur="500" fill="hold"/>
                                        <p:tgtEl>
                                          <p:spTgt spid="36"/>
                                        </p:tgtEl>
                                        <p:attrNameLst>
                                          <p:attrName>ppt_x</p:attrName>
                                        </p:attrNameLst>
                                      </p:cBhvr>
                                      <p:tavLst>
                                        <p:tav tm="0">
                                          <p:val>
                                            <p:strVal val="#ppt_x"/>
                                          </p:val>
                                        </p:tav>
                                        <p:tav tm="100000">
                                          <p:val>
                                            <p:strVal val="#ppt_x"/>
                                          </p:val>
                                        </p:tav>
                                      </p:tavLst>
                                    </p:anim>
                                    <p:anim calcmode="lin" valueType="num">
                                      <p:cBhvr additive="base">
                                        <p:cTn id="94"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grpId="0" nodeType="clickEffect">
                                  <p:stCondLst>
                                    <p:cond delay="0"/>
                                  </p:stCondLst>
                                  <p:childTnLst>
                                    <p:set>
                                      <p:cBhvr>
                                        <p:cTn id="98" dur="1" fill="hold">
                                          <p:stCondLst>
                                            <p:cond delay="0"/>
                                          </p:stCondLst>
                                        </p:cTn>
                                        <p:tgtEl>
                                          <p:spTgt spid="34"/>
                                        </p:tgtEl>
                                        <p:attrNameLst>
                                          <p:attrName>style.visibility</p:attrName>
                                        </p:attrNameLst>
                                      </p:cBhvr>
                                      <p:to>
                                        <p:strVal val="visible"/>
                                      </p:to>
                                    </p:set>
                                    <p:anim calcmode="lin" valueType="num">
                                      <p:cBhvr additive="base">
                                        <p:cTn id="99" dur="500" fill="hold"/>
                                        <p:tgtEl>
                                          <p:spTgt spid="34"/>
                                        </p:tgtEl>
                                        <p:attrNameLst>
                                          <p:attrName>ppt_x</p:attrName>
                                        </p:attrNameLst>
                                      </p:cBhvr>
                                      <p:tavLst>
                                        <p:tav tm="0">
                                          <p:val>
                                            <p:strVal val="#ppt_x"/>
                                          </p:val>
                                        </p:tav>
                                        <p:tav tm="100000">
                                          <p:val>
                                            <p:strVal val="#ppt_x"/>
                                          </p:val>
                                        </p:tav>
                                      </p:tavLst>
                                    </p:anim>
                                    <p:anim calcmode="lin" valueType="num">
                                      <p:cBhvr additive="base">
                                        <p:cTn id="100" dur="500" fill="hold"/>
                                        <p:tgtEl>
                                          <p:spTgt spid="34"/>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31"/>
                                        </p:tgtEl>
                                        <p:attrNameLst>
                                          <p:attrName>style.visibility</p:attrName>
                                        </p:attrNameLst>
                                      </p:cBhvr>
                                      <p:to>
                                        <p:strVal val="visible"/>
                                      </p:to>
                                    </p:set>
                                    <p:anim calcmode="lin" valueType="num">
                                      <p:cBhvr additive="base">
                                        <p:cTn id="103" dur="500" fill="hold"/>
                                        <p:tgtEl>
                                          <p:spTgt spid="31"/>
                                        </p:tgtEl>
                                        <p:attrNameLst>
                                          <p:attrName>ppt_x</p:attrName>
                                        </p:attrNameLst>
                                      </p:cBhvr>
                                      <p:tavLst>
                                        <p:tav tm="0">
                                          <p:val>
                                            <p:strVal val="#ppt_x"/>
                                          </p:val>
                                        </p:tav>
                                        <p:tav tm="100000">
                                          <p:val>
                                            <p:strVal val="#ppt_x"/>
                                          </p:val>
                                        </p:tav>
                                      </p:tavLst>
                                    </p:anim>
                                    <p:anim calcmode="lin" valueType="num">
                                      <p:cBhvr additive="base">
                                        <p:cTn id="104"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Graphic spid="9" grpId="0">
        <p:bldAsOne/>
      </p:bldGraphic>
      <p:bldGraphic spid="11" grpId="0">
        <p:bldAsOne/>
      </p:bldGraphic>
      <p:bldP spid="18" grpId="0" animBg="1"/>
      <p:bldP spid="16" grpId="0"/>
      <p:bldP spid="19" grpId="0" animBg="1"/>
      <p:bldP spid="20" grpId="0" animBg="1"/>
      <p:bldP spid="22" grpId="0" animBg="1"/>
      <p:bldP spid="25" grpId="0" animBg="1"/>
      <p:bldP spid="23" grpId="0"/>
      <p:bldP spid="27" grpId="0"/>
      <p:bldP spid="26" grpId="0"/>
      <p:bldP spid="30" grpId="0"/>
      <p:bldP spid="28" grpId="0"/>
      <p:bldP spid="29" grpId="0" animBg="1"/>
      <p:bldP spid="33" grpId="0" animBg="1"/>
      <p:bldP spid="34" grpId="0" animBg="1"/>
      <p:bldP spid="31" grpId="0"/>
      <p:bldP spid="36" grpId="0"/>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7529945"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US" sz="3200" dirty="0">
                <a:solidFill>
                  <a:srgbClr val="6D6E71"/>
                </a:solidFill>
              </a:rPr>
              <a:t>Cloud </a:t>
            </a:r>
            <a:r>
              <a:rPr lang="en-US" sz="3200" dirty="0" smtClean="0">
                <a:solidFill>
                  <a:srgbClr val="6D6E71"/>
                </a:solidFill>
              </a:rPr>
              <a:t>computing</a:t>
            </a:r>
            <a:endParaRPr lang="en-US" sz="3200" dirty="0">
              <a:solidFill>
                <a:srgbClr val="6D6E71"/>
              </a:solidFill>
            </a:endParaRPr>
          </a:p>
        </p:txBody>
      </p:sp>
      <p:sp>
        <p:nvSpPr>
          <p:cNvPr id="2" name="TextBox 1"/>
          <p:cNvSpPr txBox="1"/>
          <p:nvPr/>
        </p:nvSpPr>
        <p:spPr>
          <a:xfrm>
            <a:off x="671220" y="1252728"/>
            <a:ext cx="7924140" cy="138499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285750" indent="-285750" fontAlgn="base">
              <a:spcAft>
                <a:spcPct val="0"/>
              </a:spcAft>
              <a:buClr>
                <a:srgbClr val="E31837"/>
              </a:buClr>
              <a:buSzPct val="120000"/>
              <a:buFont typeface="Wingdings" pitchFamily="2" charset="2"/>
              <a:buChar char="v"/>
            </a:pPr>
            <a:r>
              <a:rPr lang="en-IN" dirty="0">
                <a:solidFill>
                  <a:prstClr val="black"/>
                </a:solidFill>
                <a:cs typeface="Arial" pitchFamily="34" charset="0"/>
              </a:rPr>
              <a:t>As an end-consumer, you’ve been using Cloud </a:t>
            </a:r>
            <a:r>
              <a:rPr lang="en-IN" dirty="0" smtClean="0">
                <a:solidFill>
                  <a:prstClr val="black"/>
                </a:solidFill>
                <a:cs typeface="Arial" pitchFamily="34" charset="0"/>
              </a:rPr>
              <a:t>services for a </a:t>
            </a:r>
            <a:r>
              <a:rPr lang="en-IN" dirty="0">
                <a:solidFill>
                  <a:prstClr val="black"/>
                </a:solidFill>
                <a:cs typeface="Arial" pitchFamily="34" charset="0"/>
              </a:rPr>
              <a:t>long </a:t>
            </a:r>
            <a:r>
              <a:rPr lang="en-IN" dirty="0" smtClean="0">
                <a:solidFill>
                  <a:prstClr val="black"/>
                </a:solidFill>
                <a:cs typeface="Arial" pitchFamily="34" charset="0"/>
              </a:rPr>
              <a:t>time and </a:t>
            </a:r>
            <a:r>
              <a:rPr lang="en-IN" dirty="0">
                <a:solidFill>
                  <a:prstClr val="black"/>
                </a:solidFill>
                <a:cs typeface="Arial" pitchFamily="34" charset="0"/>
              </a:rPr>
              <a:t>most of them are </a:t>
            </a:r>
            <a:r>
              <a:rPr lang="en-IN" dirty="0" smtClean="0">
                <a:solidFill>
                  <a:prstClr val="black"/>
                </a:solidFill>
                <a:cs typeface="Arial" pitchFamily="34" charset="0"/>
              </a:rPr>
              <a:t>free.</a:t>
            </a:r>
          </a:p>
          <a:p>
            <a:pPr marL="285750" indent="-285750" fontAlgn="base">
              <a:spcAft>
                <a:spcPct val="0"/>
              </a:spcAft>
              <a:buClr>
                <a:srgbClr val="E31837"/>
              </a:buClr>
              <a:buSzPct val="120000"/>
              <a:buFont typeface="Wingdings" pitchFamily="2" charset="2"/>
              <a:buChar char="v"/>
            </a:pPr>
            <a:r>
              <a:rPr lang="en-IN" dirty="0">
                <a:solidFill>
                  <a:prstClr val="black"/>
                </a:solidFill>
                <a:cs typeface="Arial" pitchFamily="34" charset="0"/>
              </a:rPr>
              <a:t>Cloud Computing is the delivery of Computing as a </a:t>
            </a:r>
            <a:r>
              <a:rPr lang="en-IN" b="1" dirty="0">
                <a:cs typeface="Arial" pitchFamily="34" charset="0"/>
              </a:rPr>
              <a:t>Service</a:t>
            </a:r>
            <a:r>
              <a:rPr lang="en-IN" dirty="0">
                <a:cs typeface="Arial" pitchFamily="34" charset="0"/>
              </a:rPr>
              <a:t> </a:t>
            </a:r>
            <a:r>
              <a:rPr lang="en-IN" dirty="0">
                <a:solidFill>
                  <a:prstClr val="black"/>
                </a:solidFill>
                <a:cs typeface="Arial" pitchFamily="34" charset="0"/>
              </a:rPr>
              <a:t>rather than a </a:t>
            </a:r>
            <a:r>
              <a:rPr lang="en-IN" b="1" dirty="0">
                <a:cs typeface="Arial" pitchFamily="34" charset="0"/>
              </a:rPr>
              <a:t>Product</a:t>
            </a:r>
            <a:r>
              <a:rPr lang="en-IN" dirty="0" smtClean="0">
                <a:cs typeface="Arial" pitchFamily="34" charset="0"/>
              </a:rPr>
              <a:t>. It </a:t>
            </a:r>
            <a:r>
              <a:rPr lang="en-IN" dirty="0" smtClean="0">
                <a:solidFill>
                  <a:prstClr val="black"/>
                </a:solidFill>
                <a:cs typeface="Arial" pitchFamily="34" charset="0"/>
              </a:rPr>
              <a:t>is </a:t>
            </a:r>
            <a:r>
              <a:rPr lang="en-IN" dirty="0">
                <a:solidFill>
                  <a:prstClr val="black"/>
                </a:solidFill>
                <a:cs typeface="Arial" pitchFamily="34" charset="0"/>
              </a:rPr>
              <a:t>the generic term used for anything that involves delivering hosted service over the internet</a:t>
            </a:r>
            <a:r>
              <a:rPr lang="en-IN" dirty="0" smtClean="0">
                <a:solidFill>
                  <a:prstClr val="black"/>
                </a:solidFill>
                <a:cs typeface="Arial" pitchFamily="34" charset="0"/>
              </a:rPr>
              <a:t>.</a:t>
            </a:r>
            <a:endParaRPr lang="en-IN" dirty="0">
              <a:solidFill>
                <a:prstClr val="black"/>
              </a:solidFill>
              <a:cs typeface="Arial" pitchFamily="34" charset="0"/>
            </a:endParaRPr>
          </a:p>
        </p:txBody>
      </p:sp>
      <p:grpSp>
        <p:nvGrpSpPr>
          <p:cNvPr id="3" name="Group 2"/>
          <p:cNvGrpSpPr/>
          <p:nvPr/>
        </p:nvGrpSpPr>
        <p:grpSpPr>
          <a:xfrm>
            <a:off x="1089053" y="2880360"/>
            <a:ext cx="7353907" cy="3550920"/>
            <a:chOff x="601373" y="2213579"/>
            <a:chExt cx="7868097" cy="4017855"/>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373" y="3027299"/>
              <a:ext cx="1907581" cy="680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5727" y="5487272"/>
              <a:ext cx="2927037" cy="74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t="18060"/>
            <a:stretch/>
          </p:blipFill>
          <p:spPr bwMode="auto">
            <a:xfrm>
              <a:off x="895378" y="5108028"/>
              <a:ext cx="1884902" cy="972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5437" y="3972763"/>
              <a:ext cx="2124033" cy="827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77744" y="2427890"/>
              <a:ext cx="2002713" cy="801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7"/>
            <p:cNvPicPr>
              <a:picLocks noChangeAspect="1" noChangeArrowheads="1"/>
            </p:cNvPicPr>
            <p:nvPr/>
          </p:nvPicPr>
          <p:blipFill rotWithShape="1">
            <a:blip r:embed="rId8">
              <a:extLst>
                <a:ext uri="{28A0092B-C50C-407E-A947-70E740481C1C}">
                  <a14:useLocalDpi xmlns:a14="http://schemas.microsoft.com/office/drawing/2010/main" val="0"/>
                </a:ext>
              </a:extLst>
            </a:blip>
            <a:srcRect t="25017" b="15956"/>
            <a:stretch/>
          </p:blipFill>
          <p:spPr bwMode="auto">
            <a:xfrm>
              <a:off x="3404599" y="2213579"/>
              <a:ext cx="1690403" cy="63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39245" y="3367462"/>
              <a:ext cx="2857500" cy="203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5984649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p:cNvSpPr txBox="1">
            <a:spLocks/>
          </p:cNvSpPr>
          <p:nvPr/>
        </p:nvSpPr>
        <p:spPr>
          <a:xfrm>
            <a:off x="671221" y="569913"/>
            <a:ext cx="7529945" cy="573087"/>
          </a:xfrm>
          <a:prstGeom prst="rect">
            <a:avLst/>
          </a:prstGeom>
        </p:spPr>
        <p:txBody>
          <a:bodyPr/>
          <a:lstStyle>
            <a:lvl1pPr algn="l" defTabSz="914400" rtl="0" eaLnBrk="1" latinLnBrk="0" hangingPunct="1">
              <a:spcBef>
                <a:spcPct val="0"/>
              </a:spcBef>
              <a:buNone/>
              <a:defRPr lang="en-US" sz="2200" b="1" kern="1200" dirty="0" smtClean="0">
                <a:solidFill>
                  <a:schemeClr val="tx2"/>
                </a:solidFill>
                <a:latin typeface="Arial" pitchFamily="34" charset="0"/>
                <a:ea typeface="+mj-ea"/>
                <a:cs typeface="+mj-cs"/>
              </a:defRPr>
            </a:lvl1pPr>
          </a:lstStyle>
          <a:p>
            <a:pPr>
              <a:defRPr/>
            </a:pPr>
            <a:r>
              <a:rPr lang="en-US" sz="3200" dirty="0">
                <a:solidFill>
                  <a:srgbClr val="6D6E71"/>
                </a:solidFill>
              </a:rPr>
              <a:t>Essential Characteristics of Cloud</a:t>
            </a:r>
          </a:p>
        </p:txBody>
      </p:sp>
      <p:graphicFrame>
        <p:nvGraphicFramePr>
          <p:cNvPr id="4" name="Diagram 3"/>
          <p:cNvGraphicFramePr/>
          <p:nvPr>
            <p:extLst>
              <p:ext uri="{D42A27DB-BD31-4B8C-83A1-F6EECF244321}">
                <p14:modId xmlns:p14="http://schemas.microsoft.com/office/powerpoint/2010/main" val="3597498334"/>
              </p:ext>
            </p:extLst>
          </p:nvPr>
        </p:nvGraphicFramePr>
        <p:xfrm>
          <a:off x="315946" y="1519829"/>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2997" t="3534" r="7435" b="31084"/>
          <a:stretch/>
        </p:blipFill>
        <p:spPr bwMode="auto">
          <a:xfrm>
            <a:off x="6507480" y="5006134"/>
            <a:ext cx="2484119" cy="1608026"/>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t="-1026" b="10408"/>
          <a:stretch/>
        </p:blipFill>
        <p:spPr bwMode="auto">
          <a:xfrm>
            <a:off x="6511470" y="1289825"/>
            <a:ext cx="2480130" cy="1925815"/>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descr="http://www.glasbergen.com/wp-content/gallery/bizcom/toon_103_0.gif"/>
          <p:cNvPicPr>
            <a:picLocks noChangeAspect="1" noChangeArrowheads="1"/>
          </p:cNvPicPr>
          <p:nvPr/>
        </p:nvPicPr>
        <p:blipFill rotWithShape="1">
          <a:blip r:embed="rId10">
            <a:extLst>
              <a:ext uri="{28A0092B-C50C-407E-A947-70E740481C1C}">
                <a14:useLocalDpi xmlns:a14="http://schemas.microsoft.com/office/drawing/2010/main" val="0"/>
              </a:ext>
            </a:extLst>
          </a:blip>
          <a:srcRect l="5314" t="21355" r="3568" b="3539"/>
          <a:stretch/>
        </p:blipFill>
        <p:spPr bwMode="auto">
          <a:xfrm>
            <a:off x="6502864" y="3349471"/>
            <a:ext cx="2485713" cy="1542569"/>
          </a:xfrm>
          <a:prstGeom prst="rect">
            <a:avLst/>
          </a:prstGeom>
          <a:noFill/>
          <a:ln>
            <a:solidFill>
              <a:srgbClr val="7030A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93188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662352" y="1362867"/>
            <a:ext cx="4151194" cy="489364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indent="-342900" algn="just" eaLnBrk="0" fontAlgn="base" hangingPunct="0">
              <a:spcBef>
                <a:spcPct val="0"/>
              </a:spcBef>
              <a:spcAft>
                <a:spcPct val="0"/>
              </a:spcAft>
              <a:buClr>
                <a:srgbClr val="FF0000"/>
              </a:buClr>
              <a:buFont typeface="Wingdings" panose="05000000000000000000" pitchFamily="2" charset="2"/>
              <a:buChar char="§"/>
            </a:pPr>
            <a:r>
              <a:rPr lang="en-US" sz="2400" dirty="0" smtClean="0">
                <a:solidFill>
                  <a:prstClr val="black"/>
                </a:solidFill>
                <a:latin typeface="Calibri" pitchFamily="34" charset="0"/>
                <a:ea typeface="Calibri" pitchFamily="34" charset="0"/>
                <a:cs typeface="TT667o00"/>
              </a:rPr>
              <a:t>Cloud offers value that is different from traditional enterprise IT</a:t>
            </a:r>
          </a:p>
          <a:p>
            <a:pPr marL="342900" indent="-342900" algn="just" eaLnBrk="0" fontAlgn="base" hangingPunct="0">
              <a:spcBef>
                <a:spcPct val="0"/>
              </a:spcBef>
              <a:spcAft>
                <a:spcPct val="0"/>
              </a:spcAft>
              <a:buClr>
                <a:srgbClr val="FF0000"/>
              </a:buClr>
              <a:buFont typeface="Wingdings" panose="05000000000000000000" pitchFamily="2" charset="2"/>
              <a:buChar char="§"/>
            </a:pPr>
            <a:endParaRPr lang="en-US" sz="2400" dirty="0" smtClean="0">
              <a:solidFill>
                <a:prstClr val="black"/>
              </a:solidFill>
              <a:latin typeface="Calibri" pitchFamily="34" charset="0"/>
              <a:ea typeface="Calibri" pitchFamily="34" charset="0"/>
              <a:cs typeface="TT667o00"/>
            </a:endParaRPr>
          </a:p>
          <a:p>
            <a:pPr marL="342900" indent="-342900" algn="just" eaLnBrk="0" fontAlgn="base" hangingPunct="0">
              <a:spcBef>
                <a:spcPct val="0"/>
              </a:spcBef>
              <a:spcAft>
                <a:spcPct val="0"/>
              </a:spcAft>
              <a:buClr>
                <a:srgbClr val="FF0000"/>
              </a:buClr>
              <a:buFont typeface="Wingdings" panose="05000000000000000000" pitchFamily="2" charset="2"/>
              <a:buChar char="§"/>
            </a:pPr>
            <a:r>
              <a:rPr lang="en-US" sz="2400" dirty="0" smtClean="0">
                <a:solidFill>
                  <a:prstClr val="black"/>
                </a:solidFill>
                <a:latin typeface="Calibri" pitchFamily="34" charset="0"/>
                <a:ea typeface="Calibri" pitchFamily="34" charset="0"/>
                <a:cs typeface="TT667o00"/>
              </a:rPr>
              <a:t>Allows to immediately exploit installed hardware and software</a:t>
            </a:r>
          </a:p>
          <a:p>
            <a:pPr marL="342900" indent="-342900" algn="just" eaLnBrk="0" fontAlgn="base" hangingPunct="0">
              <a:spcBef>
                <a:spcPct val="0"/>
              </a:spcBef>
              <a:spcAft>
                <a:spcPct val="0"/>
              </a:spcAft>
              <a:buClr>
                <a:srgbClr val="FF0000"/>
              </a:buClr>
              <a:buFont typeface="Wingdings" panose="05000000000000000000" pitchFamily="2" charset="2"/>
              <a:buChar char="§"/>
            </a:pPr>
            <a:endParaRPr lang="en-US" sz="2400" dirty="0" smtClean="0">
              <a:solidFill>
                <a:prstClr val="black"/>
              </a:solidFill>
              <a:latin typeface="Calibri" pitchFamily="34" charset="0"/>
              <a:ea typeface="Calibri" pitchFamily="34" charset="0"/>
              <a:cs typeface="TT667o00"/>
            </a:endParaRPr>
          </a:p>
          <a:p>
            <a:pPr marL="342900" indent="-342900" algn="just" eaLnBrk="0" fontAlgn="base" hangingPunct="0">
              <a:spcBef>
                <a:spcPct val="0"/>
              </a:spcBef>
              <a:spcAft>
                <a:spcPct val="0"/>
              </a:spcAft>
              <a:buClr>
                <a:srgbClr val="FF0000"/>
              </a:buClr>
              <a:buFont typeface="Wingdings" panose="05000000000000000000" pitchFamily="2" charset="2"/>
              <a:buChar char="§"/>
            </a:pPr>
            <a:r>
              <a:rPr lang="en-US" sz="2400" dirty="0" smtClean="0">
                <a:solidFill>
                  <a:prstClr val="black"/>
                </a:solidFill>
                <a:latin typeface="Calibri" pitchFamily="34" charset="0"/>
                <a:ea typeface="Calibri" pitchFamily="34" charset="0"/>
                <a:cs typeface="TT667o00"/>
              </a:rPr>
              <a:t>Provision and terminate virtual instances at any time</a:t>
            </a:r>
          </a:p>
          <a:p>
            <a:pPr marL="342900" indent="-342900" algn="just" eaLnBrk="0" fontAlgn="base" hangingPunct="0">
              <a:spcBef>
                <a:spcPct val="0"/>
              </a:spcBef>
              <a:spcAft>
                <a:spcPct val="0"/>
              </a:spcAft>
              <a:buClr>
                <a:srgbClr val="FF0000"/>
              </a:buClr>
              <a:buFont typeface="Wingdings" panose="05000000000000000000" pitchFamily="2" charset="2"/>
              <a:buChar char="§"/>
            </a:pPr>
            <a:endParaRPr lang="en-US" sz="2400" dirty="0" smtClean="0">
              <a:solidFill>
                <a:prstClr val="black"/>
              </a:solidFill>
              <a:latin typeface="Calibri" pitchFamily="34" charset="0"/>
              <a:ea typeface="Calibri" pitchFamily="34" charset="0"/>
              <a:cs typeface="TT667o00"/>
            </a:endParaRPr>
          </a:p>
          <a:p>
            <a:pPr marL="342900" indent="-342900" algn="just" eaLnBrk="0" fontAlgn="base" hangingPunct="0">
              <a:spcBef>
                <a:spcPct val="0"/>
              </a:spcBef>
              <a:spcAft>
                <a:spcPct val="0"/>
              </a:spcAft>
              <a:buClr>
                <a:srgbClr val="FF0000"/>
              </a:buClr>
              <a:buFont typeface="Wingdings" panose="05000000000000000000" pitchFamily="2" charset="2"/>
              <a:buChar char="§"/>
            </a:pPr>
            <a:r>
              <a:rPr lang="en-US" sz="2400" dirty="0" smtClean="0">
                <a:solidFill>
                  <a:prstClr val="black"/>
                </a:solidFill>
                <a:latin typeface="Calibri" pitchFamily="34" charset="0"/>
                <a:ea typeface="Calibri" pitchFamily="34" charset="0"/>
                <a:cs typeface="TT667o00"/>
              </a:rPr>
              <a:t>Pay only for the computing resources you use</a:t>
            </a:r>
          </a:p>
        </p:txBody>
      </p:sp>
      <p:grpSp>
        <p:nvGrpSpPr>
          <p:cNvPr id="2" name="Group 13"/>
          <p:cNvGrpSpPr/>
          <p:nvPr/>
        </p:nvGrpSpPr>
        <p:grpSpPr>
          <a:xfrm>
            <a:off x="5029200" y="1341736"/>
            <a:ext cx="3505200" cy="4926453"/>
            <a:chOff x="5029200" y="1338858"/>
            <a:chExt cx="2895600" cy="3076552"/>
          </a:xfrm>
        </p:grpSpPr>
        <p:grpSp>
          <p:nvGrpSpPr>
            <p:cNvPr id="3" name="Group 23"/>
            <p:cNvGrpSpPr>
              <a:grpSpLocks/>
            </p:cNvGrpSpPr>
            <p:nvPr/>
          </p:nvGrpSpPr>
          <p:grpSpPr bwMode="auto">
            <a:xfrm>
              <a:off x="5029200" y="2123580"/>
              <a:ext cx="2895600" cy="2291830"/>
              <a:chOff x="5638800" y="1761630"/>
              <a:chExt cx="2895600" cy="2291886"/>
            </a:xfrm>
          </p:grpSpPr>
          <p:sp>
            <p:nvSpPr>
              <p:cNvPr id="19" name="Rounded Rectangle 12"/>
              <p:cNvSpPr>
                <a:spLocks noChangeArrowheads="1"/>
              </p:cNvSpPr>
              <p:nvPr/>
            </p:nvSpPr>
            <p:spPr bwMode="auto">
              <a:xfrm>
                <a:off x="5638800" y="3276600"/>
                <a:ext cx="2895600" cy="457200"/>
              </a:xfrm>
              <a:prstGeom prst="roundRect">
                <a:avLst>
                  <a:gd name="adj" fmla="val 16667"/>
                </a:avLst>
              </a:prstGeom>
              <a:solidFill>
                <a:srgbClr val="FFCC99"/>
              </a:solidFill>
              <a:ln w="9525" algn="ctr">
                <a:solidFill>
                  <a:schemeClr val="bg2"/>
                </a:solidFill>
                <a:round/>
                <a:headEnd/>
                <a:tailEnd/>
              </a:ln>
            </p:spPr>
            <p:txBody>
              <a:bodyPr anchor="ctr"/>
              <a:lstStyle/>
              <a:p>
                <a:pPr algn="ctr"/>
                <a:r>
                  <a:rPr lang="en-US" dirty="0">
                    <a:solidFill>
                      <a:prstClr val="black"/>
                    </a:solidFill>
                  </a:rPr>
                  <a:t>Hardware</a:t>
                </a:r>
              </a:p>
            </p:txBody>
          </p:sp>
          <p:sp>
            <p:nvSpPr>
              <p:cNvPr id="20" name="Rounded Rectangle 13"/>
              <p:cNvSpPr>
                <a:spLocks noChangeArrowheads="1"/>
              </p:cNvSpPr>
              <p:nvPr/>
            </p:nvSpPr>
            <p:spPr bwMode="auto">
              <a:xfrm>
                <a:off x="56388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solidFill>
                      <a:prstClr val="black"/>
                    </a:solidFill>
                  </a:rPr>
                  <a:t>OS1</a:t>
                </a:r>
                <a:endParaRPr lang="en-US" dirty="0">
                  <a:solidFill>
                    <a:prstClr val="black"/>
                  </a:solidFill>
                </a:endParaRPr>
              </a:p>
            </p:txBody>
          </p:sp>
          <p:sp>
            <p:nvSpPr>
              <p:cNvPr id="21" name="Rounded Rectangle 14"/>
              <p:cNvSpPr>
                <a:spLocks noChangeArrowheads="1"/>
              </p:cNvSpPr>
              <p:nvPr/>
            </p:nvSpPr>
            <p:spPr bwMode="auto">
              <a:xfrm>
                <a:off x="5638800" y="176163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solidFill>
                      <a:prstClr val="black"/>
                    </a:solidFill>
                  </a:rPr>
                  <a:t>App1</a:t>
                </a:r>
                <a:endParaRPr lang="en-US" dirty="0">
                  <a:solidFill>
                    <a:prstClr val="black"/>
                  </a:solidFill>
                </a:endParaRPr>
              </a:p>
            </p:txBody>
          </p:sp>
          <p:sp>
            <p:nvSpPr>
              <p:cNvPr id="22" name="Rounded Rectangle 15"/>
              <p:cNvSpPr>
                <a:spLocks noChangeArrowheads="1"/>
              </p:cNvSpPr>
              <p:nvPr/>
            </p:nvSpPr>
            <p:spPr bwMode="auto">
              <a:xfrm>
                <a:off x="6629400" y="176163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solidFill>
                      <a:prstClr val="black"/>
                    </a:solidFill>
                  </a:rPr>
                  <a:t>App2</a:t>
                </a:r>
                <a:endParaRPr lang="en-US" dirty="0">
                  <a:solidFill>
                    <a:prstClr val="black"/>
                  </a:solidFill>
                </a:endParaRPr>
              </a:p>
            </p:txBody>
          </p:sp>
          <p:sp>
            <p:nvSpPr>
              <p:cNvPr id="23" name="Rounded Rectangle 16"/>
              <p:cNvSpPr>
                <a:spLocks noChangeArrowheads="1"/>
              </p:cNvSpPr>
              <p:nvPr/>
            </p:nvSpPr>
            <p:spPr bwMode="auto">
              <a:xfrm>
                <a:off x="7620000" y="1761630"/>
                <a:ext cx="914400" cy="457200"/>
              </a:xfrm>
              <a:prstGeom prst="roundRect">
                <a:avLst>
                  <a:gd name="adj" fmla="val 16667"/>
                </a:avLst>
              </a:prstGeom>
              <a:solidFill>
                <a:schemeClr val="accent1"/>
              </a:solidFill>
              <a:ln w="9525" algn="ctr">
                <a:solidFill>
                  <a:schemeClr val="bg2"/>
                </a:solidFill>
                <a:round/>
                <a:headEnd/>
                <a:tailEnd/>
              </a:ln>
            </p:spPr>
            <p:txBody>
              <a:bodyPr anchor="ctr"/>
              <a:lstStyle/>
              <a:p>
                <a:pPr algn="ctr"/>
                <a:r>
                  <a:rPr lang="en-US" dirty="0" smtClean="0">
                    <a:solidFill>
                      <a:prstClr val="black"/>
                    </a:solidFill>
                  </a:rPr>
                  <a:t>App3</a:t>
                </a:r>
                <a:endParaRPr lang="en-US" dirty="0">
                  <a:solidFill>
                    <a:prstClr val="black"/>
                  </a:solidFill>
                </a:endParaRPr>
              </a:p>
            </p:txBody>
          </p:sp>
          <p:sp>
            <p:nvSpPr>
              <p:cNvPr id="24" name="Rounded Rectangle 17"/>
              <p:cNvSpPr>
                <a:spLocks noChangeArrowheads="1"/>
              </p:cNvSpPr>
              <p:nvPr/>
            </p:nvSpPr>
            <p:spPr bwMode="auto">
              <a:xfrm>
                <a:off x="5638800" y="2743200"/>
                <a:ext cx="2895600" cy="457200"/>
              </a:xfrm>
              <a:prstGeom prst="roundRect">
                <a:avLst>
                  <a:gd name="adj" fmla="val 16667"/>
                </a:avLst>
              </a:prstGeom>
              <a:solidFill>
                <a:srgbClr val="CC99FF"/>
              </a:solidFill>
              <a:ln w="9525" algn="ctr">
                <a:solidFill>
                  <a:schemeClr val="bg2"/>
                </a:solidFill>
                <a:round/>
                <a:headEnd/>
                <a:tailEnd/>
              </a:ln>
            </p:spPr>
            <p:txBody>
              <a:bodyPr anchor="ctr"/>
              <a:lstStyle/>
              <a:p>
                <a:pPr algn="ctr"/>
                <a:r>
                  <a:rPr lang="en-US" dirty="0">
                    <a:solidFill>
                      <a:prstClr val="black"/>
                    </a:solidFill>
                  </a:rPr>
                  <a:t>Hypervisor</a:t>
                </a:r>
              </a:p>
            </p:txBody>
          </p:sp>
          <p:sp>
            <p:nvSpPr>
              <p:cNvPr id="25" name="Rounded Rectangle 18"/>
              <p:cNvSpPr>
                <a:spLocks noChangeArrowheads="1"/>
              </p:cNvSpPr>
              <p:nvPr/>
            </p:nvSpPr>
            <p:spPr bwMode="auto">
              <a:xfrm>
                <a:off x="66294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solidFill>
                      <a:prstClr val="black"/>
                    </a:solidFill>
                  </a:rPr>
                  <a:t>OS2</a:t>
                </a:r>
                <a:endParaRPr lang="en-US" dirty="0">
                  <a:solidFill>
                    <a:prstClr val="black"/>
                  </a:solidFill>
                </a:endParaRPr>
              </a:p>
            </p:txBody>
          </p:sp>
          <p:sp>
            <p:nvSpPr>
              <p:cNvPr id="26" name="Rounded Rectangle 19"/>
              <p:cNvSpPr>
                <a:spLocks noChangeArrowheads="1"/>
              </p:cNvSpPr>
              <p:nvPr/>
            </p:nvSpPr>
            <p:spPr bwMode="auto">
              <a:xfrm>
                <a:off x="7620000" y="2209800"/>
                <a:ext cx="914400" cy="457200"/>
              </a:xfrm>
              <a:prstGeom prst="roundRect">
                <a:avLst>
                  <a:gd name="adj" fmla="val 16667"/>
                </a:avLst>
              </a:prstGeom>
              <a:solidFill>
                <a:srgbClr val="CCFF99"/>
              </a:solidFill>
              <a:ln w="9525" algn="ctr">
                <a:solidFill>
                  <a:schemeClr val="bg2"/>
                </a:solidFill>
                <a:round/>
                <a:headEnd/>
                <a:tailEnd/>
              </a:ln>
            </p:spPr>
            <p:txBody>
              <a:bodyPr anchor="ctr"/>
              <a:lstStyle/>
              <a:p>
                <a:pPr algn="ctr"/>
                <a:r>
                  <a:rPr lang="en-US" dirty="0" smtClean="0">
                    <a:solidFill>
                      <a:prstClr val="black"/>
                    </a:solidFill>
                  </a:rPr>
                  <a:t>OS3</a:t>
                </a:r>
                <a:endParaRPr lang="en-US" dirty="0">
                  <a:solidFill>
                    <a:prstClr val="black"/>
                  </a:solidFill>
                </a:endParaRPr>
              </a:p>
            </p:txBody>
          </p:sp>
          <p:sp>
            <p:nvSpPr>
              <p:cNvPr id="27" name="TextBox 21"/>
              <p:cNvSpPr txBox="1">
                <a:spLocks noChangeArrowheads="1"/>
              </p:cNvSpPr>
              <p:nvPr/>
            </p:nvSpPr>
            <p:spPr bwMode="auto">
              <a:xfrm>
                <a:off x="6079435" y="3840130"/>
                <a:ext cx="2392017" cy="213386"/>
              </a:xfrm>
              <a:prstGeom prst="rect">
                <a:avLst/>
              </a:prstGeom>
              <a:noFill/>
              <a:ln w="9525">
                <a:noFill/>
                <a:miter lim="800000"/>
                <a:headEnd/>
                <a:tailEnd/>
              </a:ln>
            </p:spPr>
            <p:txBody>
              <a:bodyPr wrap="square">
                <a:spAutoFit/>
              </a:bodyPr>
              <a:lstStyle/>
              <a:p>
                <a:r>
                  <a:rPr lang="en-US" sz="1400" b="1" dirty="0">
                    <a:solidFill>
                      <a:srgbClr val="FF0000"/>
                    </a:solidFill>
                  </a:rPr>
                  <a:t>Virtualized </a:t>
                </a:r>
                <a:r>
                  <a:rPr lang="en-US" sz="1400" b="1" dirty="0" smtClean="0">
                    <a:solidFill>
                      <a:srgbClr val="FF0000"/>
                    </a:solidFill>
                  </a:rPr>
                  <a:t>Stack / Cloud Model</a:t>
                </a:r>
                <a:endParaRPr lang="en-US" sz="1400" b="1" dirty="0">
                  <a:solidFill>
                    <a:srgbClr val="FF0000"/>
                  </a:solidFill>
                </a:endParaRPr>
              </a:p>
            </p:txBody>
          </p:sp>
        </p:grpSp>
        <p:pic>
          <p:nvPicPr>
            <p:cNvPr id="16" name="Picture 2"/>
            <p:cNvPicPr>
              <a:picLocks noChangeAspect="1" noChangeArrowheads="1"/>
            </p:cNvPicPr>
            <p:nvPr/>
          </p:nvPicPr>
          <p:blipFill>
            <a:blip r:embed="rId3" cstate="print"/>
            <a:srcRect/>
            <a:stretch>
              <a:fillRect/>
            </a:stretch>
          </p:blipFill>
          <p:spPr bwMode="auto">
            <a:xfrm>
              <a:off x="5273707" y="1338858"/>
              <a:ext cx="624469" cy="639709"/>
            </a:xfrm>
            <a:prstGeom prst="rect">
              <a:avLst/>
            </a:prstGeom>
            <a:noFill/>
            <a:ln w="9525">
              <a:noFill/>
              <a:miter lim="800000"/>
              <a:headEnd/>
              <a:tailEnd/>
            </a:ln>
          </p:spPr>
        </p:pic>
        <p:pic>
          <p:nvPicPr>
            <p:cNvPr id="17" name="Picture 4" descr="DUser"/>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060738" y="1369995"/>
              <a:ext cx="752475" cy="600075"/>
            </a:xfrm>
            <a:prstGeom prst="rect">
              <a:avLst/>
            </a:prstGeom>
            <a:noFill/>
            <a:ln w="9525" algn="in">
              <a:noFill/>
              <a:miter lim="800000"/>
              <a:headEnd/>
              <a:tailEnd/>
            </a:ln>
            <a:effectLst/>
          </p:spPr>
        </p:pic>
        <p:pic>
          <p:nvPicPr>
            <p:cNvPr id="18" name="Picture 33" descr="People Chat buddies icon"/>
            <p:cNvPicPr>
              <a:picLocks noChangeAspect="1" noChangeArrowheads="1"/>
            </p:cNvPicPr>
            <p:nvPr/>
          </p:nvPicPr>
          <p:blipFill>
            <a:blip r:embed="rId5" cstate="print"/>
            <a:srcRect/>
            <a:stretch>
              <a:fillRect/>
            </a:stretch>
          </p:blipFill>
          <p:spPr bwMode="auto">
            <a:xfrm>
              <a:off x="7112963" y="1435512"/>
              <a:ext cx="755480" cy="516117"/>
            </a:xfrm>
            <a:prstGeom prst="rect">
              <a:avLst/>
            </a:prstGeom>
            <a:noFill/>
            <a:ln w="9525">
              <a:noFill/>
              <a:miter lim="800000"/>
              <a:headEnd/>
              <a:tailEnd/>
            </a:ln>
          </p:spPr>
        </p:pic>
      </p:grpSp>
      <p:sp>
        <p:nvSpPr>
          <p:cNvPr id="4" name="Title 3"/>
          <p:cNvSpPr>
            <a:spLocks noGrp="1"/>
          </p:cNvSpPr>
          <p:nvPr>
            <p:ph type="title"/>
          </p:nvPr>
        </p:nvSpPr>
        <p:spPr>
          <a:xfrm>
            <a:off x="498793" y="543560"/>
            <a:ext cx="8212137" cy="492443"/>
          </a:xfrm>
        </p:spPr>
        <p:txBody>
          <a:bodyPr/>
          <a:lstStyle/>
          <a:p>
            <a:pPr algn="ctr"/>
            <a:r>
              <a:rPr lang="en-US" dirty="0"/>
              <a:t>Why is Cloud Computing Important</a:t>
            </a:r>
            <a:r>
              <a:rPr lang="en-US" dirty="0" smtClean="0"/>
              <a:t>?</a:t>
            </a:r>
            <a:endParaRPr lang="en-US" dirty="0"/>
          </a:p>
        </p:txBody>
      </p:sp>
    </p:spTree>
    <p:extLst>
      <p:ext uri="{BB962C8B-B14F-4D97-AF65-F5344CB8AC3E}">
        <p14:creationId xmlns:p14="http://schemas.microsoft.com/office/powerpoint/2010/main" val="3422815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3" y="657225"/>
            <a:ext cx="8105775" cy="554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83537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fcFGLce2EuEXFiDCcx.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fcFGLce2EuEXFiDCcx.Fg"/>
</p:tagLst>
</file>

<file path=ppt/theme/theme1.xml><?xml version="1.0" encoding="utf-8"?>
<a:theme xmlns:a="http://schemas.openxmlformats.org/drawingml/2006/main" name="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2.xml><?xml version="1.0" encoding="utf-8"?>
<a:theme xmlns:a="http://schemas.openxmlformats.org/drawingml/2006/main" name="4_ESG-FocusAreas_Nov'12Update_Issue1">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20000"/>
          </a:spcBef>
          <a:spcAft>
            <a:spcPct val="0"/>
          </a:spcAft>
          <a:buClr>
            <a:srgbClr val="BF1313"/>
          </a:buClr>
          <a:buSzPct val="200000"/>
          <a:buFont typeface="Wingdings 3" pitchFamily="18" charset="2"/>
          <a:buChar char="Ú"/>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20000"/>
          </a:spcBef>
          <a:spcAft>
            <a:spcPct val="0"/>
          </a:spcAft>
          <a:buClr>
            <a:srgbClr val="BF1313"/>
          </a:buClr>
          <a:buSzPct val="200000"/>
          <a:buFont typeface="Wingdings 3" pitchFamily="18" charset="2"/>
          <a:buChar char="Ú"/>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echnology xmlns="95fc68e6-da13-4cc1-bbd6-13ad80b53832">
      <Value>Sales Teams</Value>
    </Technology>
    <Document_x0020_Type xmlns="95fc68e6-da13-4cc1-bbd6-13ad80b53832">Presentation</Document_x0020_Type>
    <Role xmlns="95fc68e6-da13-4cc1-bbd6-13ad80b53832">Amar Samarth</Ro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E48C4015CEA248A1B6630A8FE066AB" ma:contentTypeVersion="25" ma:contentTypeDescription="Create a new document." ma:contentTypeScope="" ma:versionID="6d3cea316d855d768327ca4d3e8ed12d">
  <xsd:schema xmlns:xsd="http://www.w3.org/2001/XMLSchema" xmlns:xs="http://www.w3.org/2001/XMLSchema" xmlns:p="http://schemas.microsoft.com/office/2006/metadata/properties" xmlns:ns2="95fc68e6-da13-4cc1-bbd6-13ad80b53832" targetNamespace="http://schemas.microsoft.com/office/2006/metadata/properties" ma:root="true" ma:fieldsID="7f0e3da034af4813c363ec068b145538" ns2:_="">
    <xsd:import namespace="95fc68e6-da13-4cc1-bbd6-13ad80b53832"/>
    <xsd:element name="properties">
      <xsd:complexType>
        <xsd:sequence>
          <xsd:element name="documentManagement">
            <xsd:complexType>
              <xsd:all>
                <xsd:element ref="ns2:Document_x0020_Type"/>
                <xsd:element ref="ns2:Technology" minOccurs="0"/>
                <xsd:element ref="ns2:Rol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fc68e6-da13-4cc1-bbd6-13ad80b53832" elementFormDefault="qualified">
    <xsd:import namespace="http://schemas.microsoft.com/office/2006/documentManagement/types"/>
    <xsd:import namespace="http://schemas.microsoft.com/office/infopath/2007/PartnerControls"/>
    <xsd:element name="Document_x0020_Type" ma:index="1" ma:displayName="Document Type" ma:default="Presentation" ma:description="Please select most appropriate types of document" ma:format="Dropdown" ma:internalName="Document_x0020_Type">
      <xsd:simpleType>
        <xsd:restriction base="dms:Choice">
          <xsd:enumeration value="Alliance Reference Documents"/>
          <xsd:enumeration value="Best Practices/Guidelines"/>
          <xsd:enumeration value="BOM"/>
          <xsd:enumeration value="Brochures"/>
          <xsd:enumeration value="Case Studies"/>
          <xsd:enumeration value="Costing Template"/>
          <xsd:enumeration value="Design Document"/>
          <xsd:enumeration value="Market Research papers"/>
          <xsd:enumeration value="Presentation"/>
          <xsd:enumeration value="Readiness Matrix"/>
          <xsd:enumeration value="Testimonial"/>
        </xsd:restriction>
      </xsd:simpleType>
    </xsd:element>
    <xsd:element name="Technology" ma:index="2" nillable="true" ma:displayName="Targetted Audiance" ma:default="Sales Teams" ma:description="Please enter who should be receipient of this document" ma:internalName="Technology" ma:requiredMultiChoice="true">
      <xsd:complexType>
        <xsd:complexContent>
          <xsd:extension base="dms:MultiChoice">
            <xsd:sequence>
              <xsd:element name="Value" maxOccurs="unbounded" minOccurs="0" nillable="true">
                <xsd:simpleType>
                  <xsd:restriction base="dms:Choice">
                    <xsd:enumeration value="Delivery Teams"/>
                    <xsd:enumeration value="Sales Teams"/>
                    <xsd:enumeration value="PreSales Teams"/>
                  </xsd:restriction>
                </xsd:simpleType>
              </xsd:element>
            </xsd:sequence>
          </xsd:extension>
        </xsd:complexContent>
      </xsd:complexType>
    </xsd:element>
    <xsd:element name="Role" ma:index="3" ma:displayName="Document Owner" ma:default="" ma:description="Please provide name of Document Owner" ma:internalName="Rol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Offering Name"/>
        <xsd:element ref="dc:subject" minOccurs="0" maxOccurs="1"/>
        <xsd:element ref="dc:description" minOccurs="0" maxOccurs="1"/>
        <xsd:element name="keywords" maxOccurs="1" ma:index="4" ma:displayName="Keywords">
          <xsd:simpleType xmlns:xs="http://www.w3.org/2001/XMLSchema">
            <xsd:restriction base="xsd:string">
              <xsd:minLength value="1"/>
            </xsd:restriction>
          </xsd:simpleType>
        </xsd:element>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753E0E9-BBAC-4E77-B03C-F4757A7347B6}">
  <ds:schemaRef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95fc68e6-da13-4cc1-bbd6-13ad80b53832"/>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091CC3C-44BF-4EEF-ABA0-8F0554C9C9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fc68e6-da13-4cc1-bbd6-13ad80b538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A1B877-42DF-448B-A257-86EBCF04CE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 Mahindra Powerpoint Template</Template>
  <TotalTime>0</TotalTime>
  <Words>2382</Words>
  <Application>Microsoft Office PowerPoint</Application>
  <PresentationFormat>On-screen Show (4:3)</PresentationFormat>
  <Paragraphs>481</Paragraphs>
  <Slides>54</Slides>
  <Notes>22</Notes>
  <HiddenSlides>0</HiddenSlides>
  <MMClips>0</MMClips>
  <ScaleCrop>false</ScaleCrop>
  <HeadingPairs>
    <vt:vector size="4" baseType="variant">
      <vt:variant>
        <vt:lpstr>Theme</vt:lpstr>
      </vt:variant>
      <vt:variant>
        <vt:i4>2</vt:i4>
      </vt:variant>
      <vt:variant>
        <vt:lpstr>Slide Titles</vt:lpstr>
      </vt:variant>
      <vt:variant>
        <vt:i4>54</vt:i4>
      </vt:variant>
    </vt:vector>
  </HeadingPairs>
  <TitlesOfParts>
    <vt:vector size="56" baseType="lpstr">
      <vt:lpstr>Tech Mahindra Powerpoint Template</vt:lpstr>
      <vt:lpstr>4_ESG-FocusAreas_Nov'12Update_Issue1</vt:lpstr>
      <vt:lpstr>PowerPoint Presentation</vt:lpstr>
      <vt:lpstr>PowerPoint Presentation</vt:lpstr>
      <vt:lpstr>Cloud computing</vt:lpstr>
      <vt:lpstr>PowerPoint Presentation</vt:lpstr>
      <vt:lpstr>PowerPoint Presentation</vt:lpstr>
      <vt:lpstr>PowerPoint Presentation</vt:lpstr>
      <vt:lpstr>PowerPoint Presentation</vt:lpstr>
      <vt:lpstr>Why is Cloud Computing Important?</vt:lpstr>
      <vt:lpstr>PowerPoint Presentation</vt:lpstr>
      <vt:lpstr>PowerPoint Presentation</vt:lpstr>
      <vt:lpstr>PowerPoint Presentation</vt:lpstr>
      <vt:lpstr>PowerPoint Presentation</vt:lpstr>
      <vt:lpstr>PowerPoint Presentation</vt:lpstr>
      <vt:lpstr>PowerPoint Presentation</vt:lpstr>
      <vt:lpstr>Virtual Machine</vt:lpstr>
      <vt:lpstr>Virtualization</vt:lpstr>
      <vt:lpstr>PowerPoint Presentation</vt:lpstr>
      <vt:lpstr>PowerPoint Presentation</vt:lpstr>
      <vt:lpstr>Cloud Service Models</vt:lpstr>
      <vt:lpstr>PowerPoint Presentation</vt:lpstr>
      <vt:lpstr>PaaS Runtime Comparison</vt:lpstr>
      <vt:lpstr>PowerPoint Presentation</vt:lpstr>
      <vt:lpstr>Cloud Adoption Trends</vt:lpstr>
      <vt:lpstr>PowerPoint Presentation</vt:lpstr>
      <vt:lpstr>PowerPoint Presentation</vt:lpstr>
      <vt:lpstr>PowerPoint Presentation</vt:lpstr>
      <vt:lpstr>PowerPoint Presentation</vt:lpstr>
      <vt:lpstr>NFV and SDN</vt:lpstr>
      <vt:lpstr>NFV </vt:lpstr>
      <vt:lpstr>PowerPoint Presentation</vt:lpstr>
      <vt:lpstr>PowerPoint Presentation</vt:lpstr>
      <vt:lpstr>PowerPoint Presentation</vt:lpstr>
      <vt:lpstr>Network Virtualization</vt:lpstr>
      <vt:lpstr>PowerPoint Presentation</vt:lpstr>
      <vt:lpstr>PowerPoint Presentation</vt:lpstr>
      <vt:lpstr>PowerPoint Presentation</vt:lpstr>
      <vt:lpstr>PowerPoint Presentation</vt:lpstr>
      <vt:lpstr>DevOps</vt:lpstr>
      <vt:lpstr>How Responsive is your Organization?</vt:lpstr>
      <vt:lpstr>Software Delivery Challenges</vt:lpstr>
      <vt:lpstr>What is DevOps </vt:lpstr>
      <vt:lpstr>Blame Game: Dev vs. Ops </vt:lpstr>
      <vt:lpstr>DevOps addresses the challenge</vt:lpstr>
      <vt:lpstr>Demystifying DevOps</vt:lpstr>
      <vt:lpstr>Thank you</vt:lpstr>
      <vt:lpstr>PowerPoint Presentation</vt:lpstr>
      <vt:lpstr>Thank You</vt:lpstr>
      <vt:lpstr>PowerPoint Presentation</vt:lpstr>
      <vt:lpstr>We are creating a Hybrid cloud by connecting our  Vmware based Private Cloud with AWS , HP and  Azure Public Cloud</vt:lpstr>
      <vt:lpstr>PowerPoint Presentation</vt:lpstr>
      <vt:lpstr>PowerPoint Presentation</vt:lpstr>
      <vt:lpstr>PowerPoint Presentation</vt:lpstr>
      <vt:lpstr>PowerPoint Presentation</vt:lpstr>
      <vt:lpstr>Goals and Diverge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keywords>Tech Mahindra MAC Context Setting</cp:keywords>
  <cp:lastModifiedBy/>
  <cp:revision>1</cp:revision>
  <dcterms:created xsi:type="dcterms:W3CDTF">2013-06-27T05:49:50Z</dcterms:created>
  <dcterms:modified xsi:type="dcterms:W3CDTF">2016-12-05T06: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E48C4015CEA248A1B6630A8FE066AB</vt:lpwstr>
  </property>
</Properties>
</file>